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7" r:id="rId2"/>
    <p:sldId id="263" r:id="rId3"/>
    <p:sldId id="494" r:id="rId4"/>
    <p:sldId id="496" r:id="rId5"/>
    <p:sldId id="495" r:id="rId6"/>
    <p:sldId id="455" r:id="rId7"/>
    <p:sldId id="497" r:id="rId8"/>
    <p:sldId id="498" r:id="rId9"/>
    <p:sldId id="49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441F"/>
    <a:srgbClr val="E24D29"/>
    <a:srgbClr val="F73F48"/>
    <a:srgbClr val="F0CD5E"/>
    <a:srgbClr val="F1EFE3"/>
    <a:srgbClr val="E87153"/>
    <a:srgbClr val="EE833A"/>
    <a:srgbClr val="009E47"/>
    <a:srgbClr val="2F5597"/>
    <a:srgbClr val="F5D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34" autoAdjust="0"/>
    <p:restoredTop sz="94660"/>
  </p:normalViewPr>
  <p:slideViewPr>
    <p:cSldViewPr snapToGrid="0">
      <p:cViewPr varScale="1">
        <p:scale>
          <a:sx n="66" d="100"/>
          <a:sy n="66" d="100"/>
        </p:scale>
        <p:origin x="57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68FF3D-58C6-4F48-9A7D-3ED7C922A256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093E9F-93D4-4161-A822-0E439B63913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34350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3" name="Shape 476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6013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764" name="Shape 4764"/>
          <p:cNvSpPr txBox="1">
            <a:spLocks noGrp="1"/>
          </p:cNvSpPr>
          <p:nvPr>
            <p:ph type="body" idx="1"/>
          </p:nvPr>
        </p:nvSpPr>
        <p:spPr>
          <a:xfrm>
            <a:off x="701039" y="4415789"/>
            <a:ext cx="5608200" cy="418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65" name="Shape 4765"/>
          <p:cNvSpPr txBox="1">
            <a:spLocks noGrp="1"/>
          </p:cNvSpPr>
          <p:nvPr>
            <p:ph type="sldNum" idx="12"/>
          </p:nvPr>
        </p:nvSpPr>
        <p:spPr>
          <a:xfrm>
            <a:off x="3970937" y="8829967"/>
            <a:ext cx="3037799" cy="46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5648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7D8E5-F710-4BD2-956E-587FB6AF66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DE2CCC-AF7D-48D6-BD3D-4BCDA0512C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23AC2E-E48F-4AE6-95A4-C24287E8E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E3F73-2686-4D02-AABE-D6FB2093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6C9A67-6811-419D-B22D-16406C79D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80049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9FD29-F964-4F05-AA46-9B8147AB4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97CDE1-C752-4560-B34F-93BEE755B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F72630-D519-44EE-BE67-7C3D7E211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587092-3892-4203-B20E-C050D4513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3768A-EF62-44A9-BA9C-E344B66E8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3899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1ECCFC6-5CFA-48A2-94BC-1A81B853B9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F6BCE1-E20A-48BE-B3F6-F3D4A28028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78858-493A-4354-B20E-07935C940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C2DFA-DEBE-4D16-B819-B954AD5B1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09F27E-17B7-40DF-8429-A885B67B7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67484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Option 3 - Titles Only No Footer"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92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A11CE-56C7-498E-B9DD-1FFF59C89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46120-88CA-4E44-AF1A-ADEE186176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43375-941B-4A95-9E34-69D507B9C7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126909-DF78-45BA-9CC3-9E4273787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BBDF6F-E209-4FDB-92F8-66917A944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5319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FBBD4-FA6F-401B-A3DB-47AF833F3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E52393-A47C-47C2-851C-3F3130595E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CDFE01-3C41-4FF8-9860-6AED3D76C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B11DF-9A13-45AE-9B14-66999D6B8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B8A0D-03C5-4340-A4ED-8A5FE1E0C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30322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AE474-FF41-4E24-A6E3-AD31FA13D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B5C716-D5B4-492C-B731-1B55AD7BF5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D1177E-B394-43B7-B6ED-A39A47912C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B9DEAA-7B0C-48D3-A2BC-A9B4260F1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A6D32F-1B06-4B9F-BAD5-DD9B88E39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C614BF-4500-4AC1-ACB0-4DB27A1AF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75899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6963-2527-409E-9950-883F8ACDB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1AC46-F02E-4D21-BAA8-E3936B4C2F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A5B522-70D4-4144-BD30-E17AE75C11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77C245-808F-487A-A4D1-7F8D22F2D5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EF335D-2998-47F1-A7F1-EFF3CEED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587D402-909E-4790-83B0-47E9627CE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A76D3F-5968-4C41-B4A0-E356610EC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556F92-BCAB-41F4-9DD4-102F359E4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38785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379C4-5875-42A2-9DC5-FFFA8814E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CB079B-1E2B-4221-9199-CE6C12A30F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3D3909-0D73-480E-B620-7AA1E8945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217AAF-D938-42E9-B127-499346F35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64238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C99C9C-01CC-47C1-BA43-202DE9F94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BCB29D-04BE-4250-9880-B653C25BE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6F7DCA-47D5-4B86-9A91-7DD0401B7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68504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06734-F069-4335-81A4-00DC6AE3D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ED90F1-F438-479B-989C-FB41F976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9E0662-E961-45BD-B7A8-CAA1B663B7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09719A-3096-42A9-94DA-147246B43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07F789-4BEB-4FA6-BAB1-7EFB4DF2B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721935-345F-48B3-A4E5-3E898C279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76120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61D89-F65A-484C-8A35-E690CF961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EDFBB2-AB90-41D2-BAE7-3F14023629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F43E78-B8DD-4EDB-A1B3-B766A71220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722F6E-6AB5-43D2-8276-81C2DBC7F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8674AB-04AD-4817-90A5-4F2A14D58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EA2C1-E988-4D12-9568-F4B40A31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5752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E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F00D0D-3572-405F-8A0C-9F4661DFC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1014F7-908F-492C-91FC-8CC05892E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9E7B5-1D16-47C6-A98B-9FF6D2F68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3B57E-F71A-442A-B5F3-E1F54B4B8462}" type="datetimeFigureOut">
              <a:rPr lang="en-CA" smtClean="0"/>
              <a:t>2020-01-12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3CACFB-FB2B-4A9E-B6A5-A3A5F4CAA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E3B340-7B09-49C1-92C3-A968B1E87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278EA5-98B7-4DD9-8E20-F40A92DC4B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34349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jfi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fif"/><Relationship Id="rId4" Type="http://schemas.openxmlformats.org/officeDocument/2006/relationships/image" Target="../media/image4.jf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87490" y="2762245"/>
            <a:ext cx="4720011" cy="9130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CA" sz="5333" b="1" dirty="0">
                <a:solidFill>
                  <a:srgbClr val="E24D29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+Pos/Com&gt;</a:t>
            </a:r>
            <a:r>
              <a:rPr lang="id-ID" sz="5333" b="1" dirty="0">
                <a:solidFill>
                  <a:srgbClr val="E24D29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97523" y="2762245"/>
            <a:ext cx="60959" cy="1333509"/>
          </a:xfrm>
          <a:prstGeom prst="rect">
            <a:avLst/>
          </a:prstGeom>
          <a:solidFill>
            <a:srgbClr val="E24D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5635584" y="3675190"/>
            <a:ext cx="3423822" cy="4205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CA" sz="2133" i="1" dirty="0">
                <a:solidFill>
                  <a:srgbClr val="E24D29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 Happy Comment Filter</a:t>
            </a:r>
            <a:endParaRPr lang="id-ID" sz="2133" i="1" dirty="0">
              <a:solidFill>
                <a:srgbClr val="E24D29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3ECDB8-6221-435F-ACC9-7DF7E8EC5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498" y="3119346"/>
            <a:ext cx="2384017" cy="61930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4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16" grpId="0" animBg="1"/>
      <p:bldP spid="16" grpId="1" animBg="1"/>
      <p:bldP spid="17" grpId="0"/>
      <p:bldP spid="17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2"/>
          <p:cNvGrpSpPr/>
          <p:nvPr/>
        </p:nvGrpSpPr>
        <p:grpSpPr>
          <a:xfrm>
            <a:off x="1142966" y="190502"/>
            <a:ext cx="9906069" cy="625878"/>
            <a:chOff x="857224" y="142876"/>
            <a:chExt cx="7429552" cy="469408"/>
          </a:xfrm>
        </p:grpSpPr>
        <p:sp>
          <p:nvSpPr>
            <p:cNvPr id="34" name="Rectangle 33"/>
            <p:cNvSpPr/>
            <p:nvPr/>
          </p:nvSpPr>
          <p:spPr>
            <a:xfrm>
              <a:off x="857224" y="142876"/>
              <a:ext cx="7429552" cy="469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d-ID" sz="3467" dirty="0">
                  <a:solidFill>
                    <a:srgbClr val="E24D29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OUR </a:t>
              </a:r>
              <a:r>
                <a:rPr lang="en-US" sz="3467" dirty="0">
                  <a:solidFill>
                    <a:srgbClr val="E24D29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REATIVE TEAM</a:t>
              </a:r>
              <a:endParaRPr lang="id-ID" sz="3467" dirty="0">
                <a:solidFill>
                  <a:srgbClr val="E24D29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 rot="5400000">
              <a:off x="2571870" y="385629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5400000">
              <a:off x="6286646" y="385629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70"/>
          <p:cNvGrpSpPr/>
          <p:nvPr/>
        </p:nvGrpSpPr>
        <p:grpSpPr>
          <a:xfrm>
            <a:off x="611440" y="1654669"/>
            <a:ext cx="2294984" cy="3697664"/>
            <a:chOff x="458580" y="1241001"/>
            <a:chExt cx="1721238" cy="2773248"/>
          </a:xfrm>
        </p:grpSpPr>
        <p:sp>
          <p:nvSpPr>
            <p:cNvPr id="19" name="Rectangle 18"/>
            <p:cNvSpPr/>
            <p:nvPr/>
          </p:nvSpPr>
          <p:spPr>
            <a:xfrm>
              <a:off x="720635" y="3143254"/>
              <a:ext cx="1209658" cy="2847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67" dirty="0">
                  <a:solidFill>
                    <a:srgbClr val="E1441F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INAVA SIBO</a:t>
              </a:r>
            </a:p>
          </p:txBody>
        </p:sp>
        <p:sp>
          <p:nvSpPr>
            <p:cNvPr id="39" name="Oval 38"/>
            <p:cNvSpPr/>
            <p:nvPr/>
          </p:nvSpPr>
          <p:spPr>
            <a:xfrm>
              <a:off x="458580" y="1241001"/>
              <a:ext cx="1721238" cy="1721238"/>
            </a:xfrm>
            <a:prstGeom prst="ellipse">
              <a:avLst/>
            </a:prstGeom>
            <a:solidFill>
              <a:srgbClr val="F2A1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8" name="Oval 37"/>
            <p:cNvSpPr/>
            <p:nvPr/>
          </p:nvSpPr>
          <p:spPr>
            <a:xfrm>
              <a:off x="549517" y="1335349"/>
              <a:ext cx="1532542" cy="1532542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575365" y="3494876"/>
              <a:ext cx="1500198" cy="519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hird year – Software Engineering</a:t>
              </a:r>
            </a:p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Western University</a:t>
              </a:r>
            </a:p>
          </p:txBody>
        </p:sp>
      </p:grpSp>
      <p:grpSp>
        <p:nvGrpSpPr>
          <p:cNvPr id="4" name="Group 71"/>
          <p:cNvGrpSpPr/>
          <p:nvPr/>
        </p:nvGrpSpPr>
        <p:grpSpPr>
          <a:xfrm>
            <a:off x="3491160" y="1654669"/>
            <a:ext cx="2639438" cy="3905143"/>
            <a:chOff x="2618370" y="1241001"/>
            <a:chExt cx="1979579" cy="2928857"/>
          </a:xfrm>
        </p:grpSpPr>
        <p:sp>
          <p:nvSpPr>
            <p:cNvPr id="40" name="Oval 39"/>
            <p:cNvSpPr/>
            <p:nvPr/>
          </p:nvSpPr>
          <p:spPr>
            <a:xfrm>
              <a:off x="2744596" y="1241001"/>
              <a:ext cx="1721238" cy="1721238"/>
            </a:xfrm>
            <a:prstGeom prst="ellipse">
              <a:avLst/>
            </a:prstGeom>
            <a:solidFill>
              <a:srgbClr val="F2A1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1" name="Oval 40"/>
            <p:cNvSpPr/>
            <p:nvPr/>
          </p:nvSpPr>
          <p:spPr>
            <a:xfrm>
              <a:off x="2835533" y="1335349"/>
              <a:ext cx="1532542" cy="1532542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618370" y="3035508"/>
              <a:ext cx="1979579" cy="5002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867" dirty="0">
                  <a:solidFill>
                    <a:srgbClr val="E1441F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MICHELLE DOMAGALA-TANG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2851705" y="3500444"/>
              <a:ext cx="1500198" cy="6694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cond year – Software Engineering and Management</a:t>
              </a:r>
            </a:p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cMaster University</a:t>
              </a:r>
            </a:p>
          </p:txBody>
        </p:sp>
      </p:grpSp>
      <p:grpSp>
        <p:nvGrpSpPr>
          <p:cNvPr id="5" name="Group 72"/>
          <p:cNvGrpSpPr/>
          <p:nvPr/>
        </p:nvGrpSpPr>
        <p:grpSpPr>
          <a:xfrm>
            <a:off x="6324052" y="1654669"/>
            <a:ext cx="2709268" cy="3705088"/>
            <a:chOff x="4743042" y="1241001"/>
            <a:chExt cx="2031952" cy="2778816"/>
          </a:xfrm>
        </p:grpSpPr>
        <p:sp>
          <p:nvSpPr>
            <p:cNvPr id="42" name="Oval 41"/>
            <p:cNvSpPr/>
            <p:nvPr/>
          </p:nvSpPr>
          <p:spPr>
            <a:xfrm>
              <a:off x="4889825" y="1241001"/>
              <a:ext cx="1721238" cy="1721238"/>
            </a:xfrm>
            <a:prstGeom prst="ellipse">
              <a:avLst/>
            </a:prstGeom>
            <a:solidFill>
              <a:srgbClr val="F2A1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3" name="Oval 42"/>
            <p:cNvSpPr/>
            <p:nvPr/>
          </p:nvSpPr>
          <p:spPr>
            <a:xfrm>
              <a:off x="4980762" y="1335349"/>
              <a:ext cx="1532542" cy="1532542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743042" y="3143254"/>
              <a:ext cx="2031952" cy="2847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67" dirty="0">
                  <a:solidFill>
                    <a:srgbClr val="E1441F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IYATHA RANGARAJAN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5000628" y="3500444"/>
              <a:ext cx="1500198" cy="519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cond year – Software Engineering</a:t>
              </a:r>
            </a:p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cMaster University</a:t>
              </a:r>
            </a:p>
          </p:txBody>
        </p:sp>
      </p:grpSp>
      <p:grpSp>
        <p:nvGrpSpPr>
          <p:cNvPr id="6" name="Group 73"/>
          <p:cNvGrpSpPr/>
          <p:nvPr/>
        </p:nvGrpSpPr>
        <p:grpSpPr>
          <a:xfrm>
            <a:off x="9374501" y="1654669"/>
            <a:ext cx="2294984" cy="3666187"/>
            <a:chOff x="7030876" y="1241001"/>
            <a:chExt cx="1721238" cy="2749640"/>
          </a:xfrm>
        </p:grpSpPr>
        <p:sp>
          <p:nvSpPr>
            <p:cNvPr id="44" name="Oval 43"/>
            <p:cNvSpPr/>
            <p:nvPr/>
          </p:nvSpPr>
          <p:spPr>
            <a:xfrm>
              <a:off x="7030876" y="1241001"/>
              <a:ext cx="1721238" cy="1721238"/>
            </a:xfrm>
            <a:prstGeom prst="ellipse">
              <a:avLst/>
            </a:prstGeom>
            <a:solidFill>
              <a:srgbClr val="F2A1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5" name="Oval 44"/>
            <p:cNvSpPr/>
            <p:nvPr/>
          </p:nvSpPr>
          <p:spPr>
            <a:xfrm>
              <a:off x="7121813" y="1335349"/>
              <a:ext cx="1532542" cy="1532542"/>
            </a:xfrm>
            <a:prstGeom prst="ellipse">
              <a:avLst/>
            </a:prstGeom>
            <a:blipFill>
              <a:blip r:embed="rId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485809" y="3143253"/>
              <a:ext cx="804548" cy="2847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67" dirty="0">
                  <a:solidFill>
                    <a:srgbClr val="E24D29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RIN VU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7137984" y="3471268"/>
              <a:ext cx="1500198" cy="519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cond year – Computer Science</a:t>
              </a:r>
            </a:p>
            <a:p>
              <a:pPr algn="ctr"/>
              <a:r>
                <a:rPr lang="ms-MY" sz="1300" dirty="0">
                  <a:solidFill>
                    <a:srgbClr val="E24D29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Western University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41ED0D69-DDB1-4299-9462-FBF5412E9545}"/>
              </a:ext>
            </a:extLst>
          </p:cNvPr>
          <p:cNvGrpSpPr/>
          <p:nvPr/>
        </p:nvGrpSpPr>
        <p:grpSpPr>
          <a:xfrm>
            <a:off x="72349" y="530841"/>
            <a:ext cx="11849100" cy="5796314"/>
            <a:chOff x="29276675" y="4222750"/>
            <a:chExt cx="7700963" cy="3767138"/>
          </a:xfrm>
          <a:solidFill>
            <a:srgbClr val="F0CD5E">
              <a:alpha val="68000"/>
            </a:srgbClr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CA458AA8-2F0C-4D5D-A32A-D9C0F8BD4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76675" y="4222750"/>
              <a:ext cx="3521075" cy="3767138"/>
            </a:xfrm>
            <a:custGeom>
              <a:avLst/>
              <a:gdLst>
                <a:gd name="T0" fmla="*/ 49 w 976"/>
                <a:gd name="T1" fmla="*/ 214 h 1045"/>
                <a:gd name="T2" fmla="*/ 764 w 976"/>
                <a:gd name="T3" fmla="*/ 645 h 1045"/>
                <a:gd name="T4" fmla="*/ 699 w 976"/>
                <a:gd name="T5" fmla="*/ 565 h 1045"/>
                <a:gd name="T6" fmla="*/ 620 w 976"/>
                <a:gd name="T7" fmla="*/ 563 h 1045"/>
                <a:gd name="T8" fmla="*/ 532 w 976"/>
                <a:gd name="T9" fmla="*/ 525 h 1045"/>
                <a:gd name="T10" fmla="*/ 492 w 976"/>
                <a:gd name="T11" fmla="*/ 435 h 1045"/>
                <a:gd name="T12" fmla="*/ 580 w 976"/>
                <a:gd name="T13" fmla="*/ 415 h 1045"/>
                <a:gd name="T14" fmla="*/ 657 w 976"/>
                <a:gd name="T15" fmla="*/ 326 h 1045"/>
                <a:gd name="T16" fmla="*/ 676 w 976"/>
                <a:gd name="T17" fmla="*/ 296 h 1045"/>
                <a:gd name="T18" fmla="*/ 717 w 976"/>
                <a:gd name="T19" fmla="*/ 274 h 1045"/>
                <a:gd name="T20" fmla="*/ 721 w 976"/>
                <a:gd name="T21" fmla="*/ 282 h 1045"/>
                <a:gd name="T22" fmla="*/ 634 w 976"/>
                <a:gd name="T23" fmla="*/ 204 h 1045"/>
                <a:gd name="T24" fmla="*/ 579 w 976"/>
                <a:gd name="T25" fmla="*/ 272 h 1045"/>
                <a:gd name="T26" fmla="*/ 524 w 976"/>
                <a:gd name="T27" fmla="*/ 186 h 1045"/>
                <a:gd name="T28" fmla="*/ 543 w 976"/>
                <a:gd name="T29" fmla="*/ 170 h 1045"/>
                <a:gd name="T30" fmla="*/ 600 w 976"/>
                <a:gd name="T31" fmla="*/ 159 h 1045"/>
                <a:gd name="T32" fmla="*/ 630 w 976"/>
                <a:gd name="T33" fmla="*/ 189 h 1045"/>
                <a:gd name="T34" fmla="*/ 692 w 976"/>
                <a:gd name="T35" fmla="*/ 174 h 1045"/>
                <a:gd name="T36" fmla="*/ 544 w 976"/>
                <a:gd name="T37" fmla="*/ 123 h 1045"/>
                <a:gd name="T38" fmla="*/ 508 w 976"/>
                <a:gd name="T39" fmla="*/ 139 h 1045"/>
                <a:gd name="T40" fmla="*/ 426 w 976"/>
                <a:gd name="T41" fmla="*/ 156 h 1045"/>
                <a:gd name="T42" fmla="*/ 373 w 976"/>
                <a:gd name="T43" fmla="*/ 118 h 1045"/>
                <a:gd name="T44" fmla="*/ 359 w 976"/>
                <a:gd name="T45" fmla="*/ 146 h 1045"/>
                <a:gd name="T46" fmla="*/ 239 w 976"/>
                <a:gd name="T47" fmla="*/ 147 h 1045"/>
                <a:gd name="T48" fmla="*/ 91 w 976"/>
                <a:gd name="T49" fmla="*/ 138 h 1045"/>
                <a:gd name="T50" fmla="*/ 52 w 976"/>
                <a:gd name="T51" fmla="*/ 181 h 1045"/>
                <a:gd name="T52" fmla="*/ 99 w 976"/>
                <a:gd name="T53" fmla="*/ 226 h 1045"/>
                <a:gd name="T54" fmla="*/ 131 w 976"/>
                <a:gd name="T55" fmla="*/ 227 h 1045"/>
                <a:gd name="T56" fmla="*/ 256 w 976"/>
                <a:gd name="T57" fmla="*/ 246 h 1045"/>
                <a:gd name="T58" fmla="*/ 310 w 976"/>
                <a:gd name="T59" fmla="*/ 346 h 1045"/>
                <a:gd name="T60" fmla="*/ 394 w 976"/>
                <a:gd name="T61" fmla="*/ 465 h 1045"/>
                <a:gd name="T62" fmla="*/ 474 w 976"/>
                <a:gd name="T63" fmla="*/ 530 h 1045"/>
                <a:gd name="T64" fmla="*/ 580 w 976"/>
                <a:gd name="T65" fmla="*/ 585 h 1045"/>
                <a:gd name="T66" fmla="*/ 619 w 976"/>
                <a:gd name="T67" fmla="*/ 760 h 1045"/>
                <a:gd name="T68" fmla="*/ 622 w 976"/>
                <a:gd name="T69" fmla="*/ 926 h 1045"/>
                <a:gd name="T70" fmla="*/ 637 w 976"/>
                <a:gd name="T71" fmla="*/ 1030 h 1045"/>
                <a:gd name="T72" fmla="*/ 662 w 976"/>
                <a:gd name="T73" fmla="*/ 972 h 1045"/>
                <a:gd name="T74" fmla="*/ 715 w 976"/>
                <a:gd name="T75" fmla="*/ 876 h 1045"/>
                <a:gd name="T76" fmla="*/ 828 w 976"/>
                <a:gd name="T77" fmla="*/ 778 h 1045"/>
                <a:gd name="T78" fmla="*/ 570 w 976"/>
                <a:gd name="T79" fmla="*/ 343 h 1045"/>
                <a:gd name="T80" fmla="*/ 545 w 976"/>
                <a:gd name="T81" fmla="*/ 336 h 1045"/>
                <a:gd name="T82" fmla="*/ 524 w 976"/>
                <a:gd name="T83" fmla="*/ 301 h 1045"/>
                <a:gd name="T84" fmla="*/ 559 w 976"/>
                <a:gd name="T85" fmla="*/ 195 h 1045"/>
                <a:gd name="T86" fmla="*/ 420 w 976"/>
                <a:gd name="T87" fmla="*/ 114 h 1045"/>
                <a:gd name="T88" fmla="*/ 329 w 976"/>
                <a:gd name="T89" fmla="*/ 96 h 1045"/>
                <a:gd name="T90" fmla="*/ 462 w 976"/>
                <a:gd name="T91" fmla="*/ 89 h 1045"/>
                <a:gd name="T92" fmla="*/ 472 w 976"/>
                <a:gd name="T93" fmla="*/ 100 h 1045"/>
                <a:gd name="T94" fmla="*/ 507 w 976"/>
                <a:gd name="T95" fmla="*/ 122 h 1045"/>
                <a:gd name="T96" fmla="*/ 530 w 976"/>
                <a:gd name="T97" fmla="*/ 110 h 1045"/>
                <a:gd name="T98" fmla="*/ 974 w 976"/>
                <a:gd name="T99" fmla="*/ 174 h 1045"/>
                <a:gd name="T100" fmla="*/ 903 w 976"/>
                <a:gd name="T101" fmla="*/ 125 h 1045"/>
                <a:gd name="T102" fmla="*/ 895 w 976"/>
                <a:gd name="T103" fmla="*/ 9 h 1045"/>
                <a:gd name="T104" fmla="*/ 769 w 976"/>
                <a:gd name="T105" fmla="*/ 14 h 1045"/>
                <a:gd name="T106" fmla="*/ 626 w 976"/>
                <a:gd name="T107" fmla="*/ 88 h 1045"/>
                <a:gd name="T108" fmla="*/ 747 w 976"/>
                <a:gd name="T109" fmla="*/ 144 h 1045"/>
                <a:gd name="T110" fmla="*/ 750 w 976"/>
                <a:gd name="T111" fmla="*/ 197 h 1045"/>
                <a:gd name="T112" fmla="*/ 868 w 976"/>
                <a:gd name="T113" fmla="*/ 157 h 1045"/>
                <a:gd name="T114" fmla="*/ 571 w 976"/>
                <a:gd name="T115" fmla="*/ 479 h 1045"/>
                <a:gd name="T116" fmla="*/ 664 w 976"/>
                <a:gd name="T117" fmla="*/ 51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6" h="1045">
                  <a:moveTo>
                    <a:pt x="55" y="254"/>
                  </a:moveTo>
                  <a:cubicBezTo>
                    <a:pt x="49" y="252"/>
                    <a:pt x="52" y="262"/>
                    <a:pt x="47" y="263"/>
                  </a:cubicBezTo>
                  <a:cubicBezTo>
                    <a:pt x="42" y="264"/>
                    <a:pt x="36" y="267"/>
                    <a:pt x="40" y="269"/>
                  </a:cubicBezTo>
                  <a:cubicBezTo>
                    <a:pt x="44" y="270"/>
                    <a:pt x="53" y="268"/>
                    <a:pt x="54" y="266"/>
                  </a:cubicBezTo>
                  <a:cubicBezTo>
                    <a:pt x="55" y="264"/>
                    <a:pt x="56" y="255"/>
                    <a:pt x="55" y="254"/>
                  </a:cubicBezTo>
                  <a:close/>
                  <a:moveTo>
                    <a:pt x="22" y="271"/>
                  </a:moveTo>
                  <a:cubicBezTo>
                    <a:pt x="21" y="270"/>
                    <a:pt x="15" y="267"/>
                    <a:pt x="15" y="267"/>
                  </a:cubicBezTo>
                  <a:cubicBezTo>
                    <a:pt x="9" y="267"/>
                    <a:pt x="3" y="267"/>
                    <a:pt x="2" y="270"/>
                  </a:cubicBezTo>
                  <a:cubicBezTo>
                    <a:pt x="0" y="272"/>
                    <a:pt x="7" y="274"/>
                    <a:pt x="11" y="274"/>
                  </a:cubicBezTo>
                  <a:cubicBezTo>
                    <a:pt x="15" y="274"/>
                    <a:pt x="24" y="271"/>
                    <a:pt x="22" y="271"/>
                  </a:cubicBezTo>
                  <a:close/>
                  <a:moveTo>
                    <a:pt x="56" y="213"/>
                  </a:moveTo>
                  <a:cubicBezTo>
                    <a:pt x="52" y="213"/>
                    <a:pt x="54" y="213"/>
                    <a:pt x="49" y="214"/>
                  </a:cubicBezTo>
                  <a:cubicBezTo>
                    <a:pt x="47" y="215"/>
                    <a:pt x="53" y="219"/>
                    <a:pt x="55" y="219"/>
                  </a:cubicBezTo>
                  <a:cubicBezTo>
                    <a:pt x="57" y="219"/>
                    <a:pt x="60" y="213"/>
                    <a:pt x="56" y="213"/>
                  </a:cubicBezTo>
                  <a:close/>
                  <a:moveTo>
                    <a:pt x="847" y="680"/>
                  </a:moveTo>
                  <a:cubicBezTo>
                    <a:pt x="844" y="678"/>
                    <a:pt x="836" y="677"/>
                    <a:pt x="833" y="673"/>
                  </a:cubicBezTo>
                  <a:cubicBezTo>
                    <a:pt x="830" y="668"/>
                    <a:pt x="821" y="663"/>
                    <a:pt x="818" y="664"/>
                  </a:cubicBezTo>
                  <a:cubicBezTo>
                    <a:pt x="815" y="665"/>
                    <a:pt x="810" y="666"/>
                    <a:pt x="806" y="663"/>
                  </a:cubicBezTo>
                  <a:cubicBezTo>
                    <a:pt x="801" y="660"/>
                    <a:pt x="795" y="657"/>
                    <a:pt x="792" y="654"/>
                  </a:cubicBezTo>
                  <a:cubicBezTo>
                    <a:pt x="790" y="652"/>
                    <a:pt x="783" y="650"/>
                    <a:pt x="780" y="650"/>
                  </a:cubicBezTo>
                  <a:cubicBezTo>
                    <a:pt x="777" y="650"/>
                    <a:pt x="777" y="648"/>
                    <a:pt x="772" y="655"/>
                  </a:cubicBezTo>
                  <a:cubicBezTo>
                    <a:pt x="768" y="662"/>
                    <a:pt x="772" y="665"/>
                    <a:pt x="764" y="663"/>
                  </a:cubicBezTo>
                  <a:cubicBezTo>
                    <a:pt x="756" y="662"/>
                    <a:pt x="765" y="662"/>
                    <a:pt x="770" y="654"/>
                  </a:cubicBezTo>
                  <a:cubicBezTo>
                    <a:pt x="775" y="647"/>
                    <a:pt x="769" y="643"/>
                    <a:pt x="764" y="645"/>
                  </a:cubicBezTo>
                  <a:cubicBezTo>
                    <a:pt x="759" y="646"/>
                    <a:pt x="763" y="650"/>
                    <a:pt x="754" y="652"/>
                  </a:cubicBezTo>
                  <a:cubicBezTo>
                    <a:pt x="746" y="654"/>
                    <a:pt x="746" y="648"/>
                    <a:pt x="751" y="646"/>
                  </a:cubicBezTo>
                  <a:cubicBezTo>
                    <a:pt x="756" y="645"/>
                    <a:pt x="766" y="640"/>
                    <a:pt x="766" y="637"/>
                  </a:cubicBezTo>
                  <a:cubicBezTo>
                    <a:pt x="766" y="635"/>
                    <a:pt x="765" y="628"/>
                    <a:pt x="761" y="628"/>
                  </a:cubicBezTo>
                  <a:cubicBezTo>
                    <a:pt x="756" y="628"/>
                    <a:pt x="757" y="622"/>
                    <a:pt x="751" y="614"/>
                  </a:cubicBezTo>
                  <a:cubicBezTo>
                    <a:pt x="745" y="606"/>
                    <a:pt x="736" y="597"/>
                    <a:pt x="730" y="598"/>
                  </a:cubicBezTo>
                  <a:cubicBezTo>
                    <a:pt x="724" y="600"/>
                    <a:pt x="720" y="605"/>
                    <a:pt x="717" y="599"/>
                  </a:cubicBezTo>
                  <a:cubicBezTo>
                    <a:pt x="714" y="592"/>
                    <a:pt x="711" y="591"/>
                    <a:pt x="708" y="587"/>
                  </a:cubicBezTo>
                  <a:cubicBezTo>
                    <a:pt x="706" y="584"/>
                    <a:pt x="701" y="587"/>
                    <a:pt x="700" y="585"/>
                  </a:cubicBezTo>
                  <a:cubicBezTo>
                    <a:pt x="698" y="584"/>
                    <a:pt x="698" y="584"/>
                    <a:pt x="698" y="584"/>
                  </a:cubicBezTo>
                  <a:cubicBezTo>
                    <a:pt x="698" y="584"/>
                    <a:pt x="691" y="585"/>
                    <a:pt x="695" y="580"/>
                  </a:cubicBezTo>
                  <a:cubicBezTo>
                    <a:pt x="699" y="574"/>
                    <a:pt x="700" y="564"/>
                    <a:pt x="699" y="565"/>
                  </a:cubicBezTo>
                  <a:cubicBezTo>
                    <a:pt x="697" y="565"/>
                    <a:pt x="694" y="574"/>
                    <a:pt x="692" y="573"/>
                  </a:cubicBezTo>
                  <a:cubicBezTo>
                    <a:pt x="689" y="573"/>
                    <a:pt x="691" y="571"/>
                    <a:pt x="686" y="568"/>
                  </a:cubicBezTo>
                  <a:cubicBezTo>
                    <a:pt x="681" y="564"/>
                    <a:pt x="673" y="567"/>
                    <a:pt x="673" y="570"/>
                  </a:cubicBezTo>
                  <a:cubicBezTo>
                    <a:pt x="673" y="573"/>
                    <a:pt x="670" y="576"/>
                    <a:pt x="670" y="576"/>
                  </a:cubicBezTo>
                  <a:cubicBezTo>
                    <a:pt x="670" y="576"/>
                    <a:pt x="669" y="574"/>
                    <a:pt x="667" y="570"/>
                  </a:cubicBezTo>
                  <a:cubicBezTo>
                    <a:pt x="666" y="566"/>
                    <a:pt x="658" y="566"/>
                    <a:pt x="655" y="569"/>
                  </a:cubicBezTo>
                  <a:cubicBezTo>
                    <a:pt x="651" y="573"/>
                    <a:pt x="649" y="560"/>
                    <a:pt x="646" y="560"/>
                  </a:cubicBezTo>
                  <a:cubicBezTo>
                    <a:pt x="644" y="560"/>
                    <a:pt x="639" y="563"/>
                    <a:pt x="636" y="569"/>
                  </a:cubicBezTo>
                  <a:cubicBezTo>
                    <a:pt x="634" y="574"/>
                    <a:pt x="635" y="582"/>
                    <a:pt x="633" y="582"/>
                  </a:cubicBezTo>
                  <a:cubicBezTo>
                    <a:pt x="630" y="581"/>
                    <a:pt x="630" y="571"/>
                    <a:pt x="630" y="567"/>
                  </a:cubicBezTo>
                  <a:cubicBezTo>
                    <a:pt x="631" y="563"/>
                    <a:pt x="637" y="557"/>
                    <a:pt x="633" y="556"/>
                  </a:cubicBezTo>
                  <a:cubicBezTo>
                    <a:pt x="628" y="555"/>
                    <a:pt x="622" y="562"/>
                    <a:pt x="620" y="563"/>
                  </a:cubicBezTo>
                  <a:cubicBezTo>
                    <a:pt x="617" y="563"/>
                    <a:pt x="612" y="568"/>
                    <a:pt x="609" y="573"/>
                  </a:cubicBezTo>
                  <a:cubicBezTo>
                    <a:pt x="606" y="577"/>
                    <a:pt x="604" y="580"/>
                    <a:pt x="601" y="582"/>
                  </a:cubicBezTo>
                  <a:cubicBezTo>
                    <a:pt x="598" y="584"/>
                    <a:pt x="593" y="582"/>
                    <a:pt x="594" y="580"/>
                  </a:cubicBezTo>
                  <a:cubicBezTo>
                    <a:pt x="595" y="579"/>
                    <a:pt x="586" y="572"/>
                    <a:pt x="584" y="574"/>
                  </a:cubicBezTo>
                  <a:cubicBezTo>
                    <a:pt x="582" y="577"/>
                    <a:pt x="578" y="579"/>
                    <a:pt x="573" y="581"/>
                  </a:cubicBezTo>
                  <a:cubicBezTo>
                    <a:pt x="568" y="584"/>
                    <a:pt x="564" y="578"/>
                    <a:pt x="563" y="576"/>
                  </a:cubicBezTo>
                  <a:cubicBezTo>
                    <a:pt x="562" y="573"/>
                    <a:pt x="560" y="573"/>
                    <a:pt x="560" y="565"/>
                  </a:cubicBezTo>
                  <a:cubicBezTo>
                    <a:pt x="559" y="557"/>
                    <a:pt x="561" y="548"/>
                    <a:pt x="562" y="543"/>
                  </a:cubicBezTo>
                  <a:cubicBezTo>
                    <a:pt x="564" y="538"/>
                    <a:pt x="555" y="529"/>
                    <a:pt x="551" y="529"/>
                  </a:cubicBezTo>
                  <a:cubicBezTo>
                    <a:pt x="547" y="530"/>
                    <a:pt x="544" y="534"/>
                    <a:pt x="540" y="533"/>
                  </a:cubicBezTo>
                  <a:cubicBezTo>
                    <a:pt x="536" y="533"/>
                    <a:pt x="538" y="532"/>
                    <a:pt x="532" y="532"/>
                  </a:cubicBezTo>
                  <a:cubicBezTo>
                    <a:pt x="527" y="532"/>
                    <a:pt x="531" y="530"/>
                    <a:pt x="532" y="525"/>
                  </a:cubicBezTo>
                  <a:cubicBezTo>
                    <a:pt x="533" y="519"/>
                    <a:pt x="530" y="512"/>
                    <a:pt x="536" y="507"/>
                  </a:cubicBezTo>
                  <a:cubicBezTo>
                    <a:pt x="542" y="502"/>
                    <a:pt x="540" y="491"/>
                    <a:pt x="536" y="490"/>
                  </a:cubicBezTo>
                  <a:cubicBezTo>
                    <a:pt x="532" y="490"/>
                    <a:pt x="526" y="492"/>
                    <a:pt x="521" y="491"/>
                  </a:cubicBezTo>
                  <a:cubicBezTo>
                    <a:pt x="516" y="491"/>
                    <a:pt x="513" y="496"/>
                    <a:pt x="514" y="501"/>
                  </a:cubicBezTo>
                  <a:cubicBezTo>
                    <a:pt x="516" y="507"/>
                    <a:pt x="512" y="510"/>
                    <a:pt x="510" y="510"/>
                  </a:cubicBezTo>
                  <a:cubicBezTo>
                    <a:pt x="509" y="509"/>
                    <a:pt x="507" y="506"/>
                    <a:pt x="501" y="511"/>
                  </a:cubicBezTo>
                  <a:cubicBezTo>
                    <a:pt x="495" y="516"/>
                    <a:pt x="493" y="514"/>
                    <a:pt x="487" y="508"/>
                  </a:cubicBezTo>
                  <a:cubicBezTo>
                    <a:pt x="482" y="503"/>
                    <a:pt x="476" y="497"/>
                    <a:pt x="475" y="489"/>
                  </a:cubicBezTo>
                  <a:cubicBezTo>
                    <a:pt x="473" y="480"/>
                    <a:pt x="473" y="472"/>
                    <a:pt x="475" y="467"/>
                  </a:cubicBezTo>
                  <a:cubicBezTo>
                    <a:pt x="477" y="462"/>
                    <a:pt x="477" y="454"/>
                    <a:pt x="474" y="452"/>
                  </a:cubicBezTo>
                  <a:cubicBezTo>
                    <a:pt x="471" y="451"/>
                    <a:pt x="478" y="445"/>
                    <a:pt x="481" y="444"/>
                  </a:cubicBezTo>
                  <a:cubicBezTo>
                    <a:pt x="485" y="443"/>
                    <a:pt x="491" y="437"/>
                    <a:pt x="492" y="435"/>
                  </a:cubicBezTo>
                  <a:cubicBezTo>
                    <a:pt x="493" y="432"/>
                    <a:pt x="498" y="433"/>
                    <a:pt x="503" y="433"/>
                  </a:cubicBezTo>
                  <a:cubicBezTo>
                    <a:pt x="509" y="433"/>
                    <a:pt x="510" y="433"/>
                    <a:pt x="516" y="436"/>
                  </a:cubicBezTo>
                  <a:cubicBezTo>
                    <a:pt x="522" y="440"/>
                    <a:pt x="523" y="435"/>
                    <a:pt x="523" y="433"/>
                  </a:cubicBezTo>
                  <a:cubicBezTo>
                    <a:pt x="523" y="431"/>
                    <a:pt x="526" y="430"/>
                    <a:pt x="532" y="430"/>
                  </a:cubicBezTo>
                  <a:cubicBezTo>
                    <a:pt x="538" y="431"/>
                    <a:pt x="546" y="426"/>
                    <a:pt x="547" y="427"/>
                  </a:cubicBezTo>
                  <a:cubicBezTo>
                    <a:pt x="549" y="429"/>
                    <a:pt x="552" y="436"/>
                    <a:pt x="555" y="434"/>
                  </a:cubicBezTo>
                  <a:cubicBezTo>
                    <a:pt x="558" y="432"/>
                    <a:pt x="559" y="427"/>
                    <a:pt x="560" y="435"/>
                  </a:cubicBezTo>
                  <a:cubicBezTo>
                    <a:pt x="561" y="442"/>
                    <a:pt x="564" y="453"/>
                    <a:pt x="568" y="455"/>
                  </a:cubicBezTo>
                  <a:cubicBezTo>
                    <a:pt x="573" y="457"/>
                    <a:pt x="571" y="464"/>
                    <a:pt x="575" y="465"/>
                  </a:cubicBezTo>
                  <a:cubicBezTo>
                    <a:pt x="580" y="465"/>
                    <a:pt x="582" y="453"/>
                    <a:pt x="580" y="449"/>
                  </a:cubicBezTo>
                  <a:cubicBezTo>
                    <a:pt x="579" y="444"/>
                    <a:pt x="576" y="432"/>
                    <a:pt x="573" y="429"/>
                  </a:cubicBezTo>
                  <a:cubicBezTo>
                    <a:pt x="571" y="426"/>
                    <a:pt x="575" y="418"/>
                    <a:pt x="580" y="415"/>
                  </a:cubicBezTo>
                  <a:cubicBezTo>
                    <a:pt x="585" y="413"/>
                    <a:pt x="593" y="400"/>
                    <a:pt x="597" y="397"/>
                  </a:cubicBezTo>
                  <a:cubicBezTo>
                    <a:pt x="601" y="393"/>
                    <a:pt x="612" y="392"/>
                    <a:pt x="609" y="387"/>
                  </a:cubicBezTo>
                  <a:cubicBezTo>
                    <a:pt x="606" y="382"/>
                    <a:pt x="603" y="377"/>
                    <a:pt x="603" y="374"/>
                  </a:cubicBezTo>
                  <a:cubicBezTo>
                    <a:pt x="603" y="370"/>
                    <a:pt x="606" y="371"/>
                    <a:pt x="608" y="374"/>
                  </a:cubicBezTo>
                  <a:cubicBezTo>
                    <a:pt x="609" y="376"/>
                    <a:pt x="615" y="370"/>
                    <a:pt x="614" y="367"/>
                  </a:cubicBezTo>
                  <a:cubicBezTo>
                    <a:pt x="612" y="364"/>
                    <a:pt x="613" y="360"/>
                    <a:pt x="617" y="360"/>
                  </a:cubicBezTo>
                  <a:cubicBezTo>
                    <a:pt x="620" y="361"/>
                    <a:pt x="621" y="357"/>
                    <a:pt x="620" y="355"/>
                  </a:cubicBezTo>
                  <a:cubicBezTo>
                    <a:pt x="618" y="352"/>
                    <a:pt x="623" y="349"/>
                    <a:pt x="627" y="350"/>
                  </a:cubicBezTo>
                  <a:cubicBezTo>
                    <a:pt x="630" y="352"/>
                    <a:pt x="642" y="353"/>
                    <a:pt x="644" y="350"/>
                  </a:cubicBezTo>
                  <a:cubicBezTo>
                    <a:pt x="645" y="348"/>
                    <a:pt x="638" y="343"/>
                    <a:pt x="638" y="338"/>
                  </a:cubicBezTo>
                  <a:cubicBezTo>
                    <a:pt x="638" y="333"/>
                    <a:pt x="644" y="329"/>
                    <a:pt x="648" y="328"/>
                  </a:cubicBezTo>
                  <a:cubicBezTo>
                    <a:pt x="652" y="327"/>
                    <a:pt x="656" y="328"/>
                    <a:pt x="657" y="326"/>
                  </a:cubicBezTo>
                  <a:cubicBezTo>
                    <a:pt x="657" y="324"/>
                    <a:pt x="662" y="319"/>
                    <a:pt x="663" y="324"/>
                  </a:cubicBezTo>
                  <a:cubicBezTo>
                    <a:pt x="664" y="328"/>
                    <a:pt x="663" y="335"/>
                    <a:pt x="667" y="335"/>
                  </a:cubicBezTo>
                  <a:cubicBezTo>
                    <a:pt x="671" y="335"/>
                    <a:pt x="676" y="330"/>
                    <a:pt x="678" y="329"/>
                  </a:cubicBezTo>
                  <a:cubicBezTo>
                    <a:pt x="680" y="329"/>
                    <a:pt x="689" y="326"/>
                    <a:pt x="691" y="325"/>
                  </a:cubicBezTo>
                  <a:cubicBezTo>
                    <a:pt x="693" y="325"/>
                    <a:pt x="706" y="324"/>
                    <a:pt x="704" y="319"/>
                  </a:cubicBezTo>
                  <a:cubicBezTo>
                    <a:pt x="703" y="315"/>
                    <a:pt x="701" y="311"/>
                    <a:pt x="700" y="309"/>
                  </a:cubicBezTo>
                  <a:cubicBezTo>
                    <a:pt x="698" y="307"/>
                    <a:pt x="697" y="310"/>
                    <a:pt x="694" y="313"/>
                  </a:cubicBezTo>
                  <a:cubicBezTo>
                    <a:pt x="692" y="316"/>
                    <a:pt x="689" y="316"/>
                    <a:pt x="688" y="313"/>
                  </a:cubicBezTo>
                  <a:cubicBezTo>
                    <a:pt x="687" y="311"/>
                    <a:pt x="688" y="303"/>
                    <a:pt x="685" y="306"/>
                  </a:cubicBezTo>
                  <a:cubicBezTo>
                    <a:pt x="681" y="308"/>
                    <a:pt x="681" y="311"/>
                    <a:pt x="678" y="310"/>
                  </a:cubicBezTo>
                  <a:cubicBezTo>
                    <a:pt x="676" y="308"/>
                    <a:pt x="674" y="304"/>
                    <a:pt x="674" y="304"/>
                  </a:cubicBezTo>
                  <a:cubicBezTo>
                    <a:pt x="674" y="304"/>
                    <a:pt x="680" y="301"/>
                    <a:pt x="676" y="296"/>
                  </a:cubicBezTo>
                  <a:cubicBezTo>
                    <a:pt x="672" y="290"/>
                    <a:pt x="667" y="291"/>
                    <a:pt x="662" y="294"/>
                  </a:cubicBezTo>
                  <a:cubicBezTo>
                    <a:pt x="657" y="297"/>
                    <a:pt x="657" y="297"/>
                    <a:pt x="651" y="299"/>
                  </a:cubicBezTo>
                  <a:cubicBezTo>
                    <a:pt x="645" y="300"/>
                    <a:pt x="642" y="302"/>
                    <a:pt x="642" y="302"/>
                  </a:cubicBezTo>
                  <a:cubicBezTo>
                    <a:pt x="642" y="302"/>
                    <a:pt x="644" y="293"/>
                    <a:pt x="647" y="289"/>
                  </a:cubicBezTo>
                  <a:cubicBezTo>
                    <a:pt x="651" y="285"/>
                    <a:pt x="662" y="287"/>
                    <a:pt x="665" y="283"/>
                  </a:cubicBezTo>
                  <a:cubicBezTo>
                    <a:pt x="668" y="280"/>
                    <a:pt x="676" y="285"/>
                    <a:pt x="676" y="285"/>
                  </a:cubicBezTo>
                  <a:cubicBezTo>
                    <a:pt x="676" y="285"/>
                    <a:pt x="681" y="280"/>
                    <a:pt x="681" y="283"/>
                  </a:cubicBezTo>
                  <a:cubicBezTo>
                    <a:pt x="681" y="286"/>
                    <a:pt x="680" y="294"/>
                    <a:pt x="683" y="294"/>
                  </a:cubicBezTo>
                  <a:cubicBezTo>
                    <a:pt x="686" y="294"/>
                    <a:pt x="694" y="289"/>
                    <a:pt x="691" y="288"/>
                  </a:cubicBezTo>
                  <a:cubicBezTo>
                    <a:pt x="687" y="287"/>
                    <a:pt x="693" y="285"/>
                    <a:pt x="697" y="282"/>
                  </a:cubicBezTo>
                  <a:cubicBezTo>
                    <a:pt x="700" y="279"/>
                    <a:pt x="707" y="282"/>
                    <a:pt x="709" y="281"/>
                  </a:cubicBezTo>
                  <a:cubicBezTo>
                    <a:pt x="712" y="280"/>
                    <a:pt x="713" y="274"/>
                    <a:pt x="717" y="274"/>
                  </a:cubicBezTo>
                  <a:cubicBezTo>
                    <a:pt x="720" y="274"/>
                    <a:pt x="722" y="280"/>
                    <a:pt x="717" y="283"/>
                  </a:cubicBezTo>
                  <a:cubicBezTo>
                    <a:pt x="712" y="287"/>
                    <a:pt x="711" y="296"/>
                    <a:pt x="708" y="299"/>
                  </a:cubicBezTo>
                  <a:cubicBezTo>
                    <a:pt x="706" y="301"/>
                    <a:pt x="707" y="304"/>
                    <a:pt x="712" y="303"/>
                  </a:cubicBezTo>
                  <a:cubicBezTo>
                    <a:pt x="716" y="303"/>
                    <a:pt x="719" y="304"/>
                    <a:pt x="723" y="303"/>
                  </a:cubicBezTo>
                  <a:cubicBezTo>
                    <a:pt x="727" y="302"/>
                    <a:pt x="729" y="304"/>
                    <a:pt x="730" y="306"/>
                  </a:cubicBezTo>
                  <a:cubicBezTo>
                    <a:pt x="731" y="308"/>
                    <a:pt x="734" y="304"/>
                    <a:pt x="734" y="304"/>
                  </a:cubicBezTo>
                  <a:cubicBezTo>
                    <a:pt x="734" y="304"/>
                    <a:pt x="740" y="302"/>
                    <a:pt x="742" y="305"/>
                  </a:cubicBezTo>
                  <a:cubicBezTo>
                    <a:pt x="745" y="308"/>
                    <a:pt x="746" y="303"/>
                    <a:pt x="745" y="300"/>
                  </a:cubicBezTo>
                  <a:cubicBezTo>
                    <a:pt x="743" y="297"/>
                    <a:pt x="741" y="294"/>
                    <a:pt x="739" y="291"/>
                  </a:cubicBezTo>
                  <a:cubicBezTo>
                    <a:pt x="738" y="287"/>
                    <a:pt x="736" y="286"/>
                    <a:pt x="732" y="287"/>
                  </a:cubicBezTo>
                  <a:cubicBezTo>
                    <a:pt x="728" y="288"/>
                    <a:pt x="727" y="286"/>
                    <a:pt x="724" y="284"/>
                  </a:cubicBezTo>
                  <a:cubicBezTo>
                    <a:pt x="721" y="282"/>
                    <a:pt x="719" y="286"/>
                    <a:pt x="721" y="282"/>
                  </a:cubicBezTo>
                  <a:cubicBezTo>
                    <a:pt x="723" y="278"/>
                    <a:pt x="724" y="277"/>
                    <a:pt x="726" y="273"/>
                  </a:cubicBezTo>
                  <a:cubicBezTo>
                    <a:pt x="728" y="269"/>
                    <a:pt x="734" y="263"/>
                    <a:pt x="728" y="261"/>
                  </a:cubicBezTo>
                  <a:cubicBezTo>
                    <a:pt x="721" y="259"/>
                    <a:pt x="719" y="258"/>
                    <a:pt x="718" y="254"/>
                  </a:cubicBezTo>
                  <a:cubicBezTo>
                    <a:pt x="717" y="250"/>
                    <a:pt x="709" y="244"/>
                    <a:pt x="707" y="244"/>
                  </a:cubicBezTo>
                  <a:cubicBezTo>
                    <a:pt x="705" y="244"/>
                    <a:pt x="695" y="246"/>
                    <a:pt x="694" y="243"/>
                  </a:cubicBezTo>
                  <a:cubicBezTo>
                    <a:pt x="694" y="240"/>
                    <a:pt x="691" y="231"/>
                    <a:pt x="689" y="228"/>
                  </a:cubicBezTo>
                  <a:cubicBezTo>
                    <a:pt x="686" y="225"/>
                    <a:pt x="676" y="211"/>
                    <a:pt x="675" y="210"/>
                  </a:cubicBezTo>
                  <a:cubicBezTo>
                    <a:pt x="673" y="209"/>
                    <a:pt x="671" y="210"/>
                    <a:pt x="667" y="217"/>
                  </a:cubicBezTo>
                  <a:cubicBezTo>
                    <a:pt x="662" y="224"/>
                    <a:pt x="658" y="225"/>
                    <a:pt x="654" y="224"/>
                  </a:cubicBezTo>
                  <a:cubicBezTo>
                    <a:pt x="651" y="222"/>
                    <a:pt x="647" y="224"/>
                    <a:pt x="643" y="219"/>
                  </a:cubicBezTo>
                  <a:cubicBezTo>
                    <a:pt x="639" y="214"/>
                    <a:pt x="650" y="212"/>
                    <a:pt x="649" y="209"/>
                  </a:cubicBezTo>
                  <a:cubicBezTo>
                    <a:pt x="647" y="206"/>
                    <a:pt x="639" y="205"/>
                    <a:pt x="634" y="204"/>
                  </a:cubicBezTo>
                  <a:cubicBezTo>
                    <a:pt x="628" y="203"/>
                    <a:pt x="625" y="197"/>
                    <a:pt x="617" y="196"/>
                  </a:cubicBezTo>
                  <a:cubicBezTo>
                    <a:pt x="609" y="195"/>
                    <a:pt x="600" y="197"/>
                    <a:pt x="597" y="197"/>
                  </a:cubicBezTo>
                  <a:cubicBezTo>
                    <a:pt x="595" y="197"/>
                    <a:pt x="595" y="202"/>
                    <a:pt x="594" y="208"/>
                  </a:cubicBezTo>
                  <a:cubicBezTo>
                    <a:pt x="593" y="215"/>
                    <a:pt x="597" y="217"/>
                    <a:pt x="593" y="218"/>
                  </a:cubicBezTo>
                  <a:cubicBezTo>
                    <a:pt x="588" y="219"/>
                    <a:pt x="586" y="220"/>
                    <a:pt x="591" y="222"/>
                  </a:cubicBezTo>
                  <a:cubicBezTo>
                    <a:pt x="595" y="225"/>
                    <a:pt x="602" y="235"/>
                    <a:pt x="602" y="235"/>
                  </a:cubicBezTo>
                  <a:cubicBezTo>
                    <a:pt x="602" y="235"/>
                    <a:pt x="602" y="240"/>
                    <a:pt x="598" y="243"/>
                  </a:cubicBezTo>
                  <a:cubicBezTo>
                    <a:pt x="594" y="246"/>
                    <a:pt x="591" y="249"/>
                    <a:pt x="589" y="246"/>
                  </a:cubicBezTo>
                  <a:cubicBezTo>
                    <a:pt x="587" y="242"/>
                    <a:pt x="581" y="242"/>
                    <a:pt x="582" y="246"/>
                  </a:cubicBezTo>
                  <a:cubicBezTo>
                    <a:pt x="584" y="250"/>
                    <a:pt x="587" y="252"/>
                    <a:pt x="587" y="255"/>
                  </a:cubicBezTo>
                  <a:cubicBezTo>
                    <a:pt x="587" y="259"/>
                    <a:pt x="592" y="268"/>
                    <a:pt x="589" y="271"/>
                  </a:cubicBezTo>
                  <a:cubicBezTo>
                    <a:pt x="586" y="274"/>
                    <a:pt x="582" y="272"/>
                    <a:pt x="579" y="272"/>
                  </a:cubicBezTo>
                  <a:cubicBezTo>
                    <a:pt x="577" y="273"/>
                    <a:pt x="574" y="267"/>
                    <a:pt x="576" y="266"/>
                  </a:cubicBezTo>
                  <a:cubicBezTo>
                    <a:pt x="578" y="265"/>
                    <a:pt x="576" y="256"/>
                    <a:pt x="576" y="256"/>
                  </a:cubicBezTo>
                  <a:cubicBezTo>
                    <a:pt x="576" y="256"/>
                    <a:pt x="570" y="266"/>
                    <a:pt x="570" y="261"/>
                  </a:cubicBezTo>
                  <a:cubicBezTo>
                    <a:pt x="571" y="255"/>
                    <a:pt x="567" y="255"/>
                    <a:pt x="567" y="250"/>
                  </a:cubicBezTo>
                  <a:cubicBezTo>
                    <a:pt x="567" y="246"/>
                    <a:pt x="563" y="240"/>
                    <a:pt x="558" y="241"/>
                  </a:cubicBezTo>
                  <a:cubicBezTo>
                    <a:pt x="554" y="243"/>
                    <a:pt x="549" y="244"/>
                    <a:pt x="541" y="242"/>
                  </a:cubicBezTo>
                  <a:cubicBezTo>
                    <a:pt x="532" y="240"/>
                    <a:pt x="528" y="239"/>
                    <a:pt x="521" y="235"/>
                  </a:cubicBezTo>
                  <a:cubicBezTo>
                    <a:pt x="514" y="230"/>
                    <a:pt x="511" y="233"/>
                    <a:pt x="508" y="234"/>
                  </a:cubicBezTo>
                  <a:cubicBezTo>
                    <a:pt x="504" y="235"/>
                    <a:pt x="505" y="225"/>
                    <a:pt x="501" y="224"/>
                  </a:cubicBezTo>
                  <a:cubicBezTo>
                    <a:pt x="496" y="223"/>
                    <a:pt x="499" y="222"/>
                    <a:pt x="498" y="214"/>
                  </a:cubicBezTo>
                  <a:cubicBezTo>
                    <a:pt x="497" y="206"/>
                    <a:pt x="494" y="208"/>
                    <a:pt x="505" y="199"/>
                  </a:cubicBezTo>
                  <a:cubicBezTo>
                    <a:pt x="517" y="191"/>
                    <a:pt x="515" y="187"/>
                    <a:pt x="524" y="186"/>
                  </a:cubicBezTo>
                  <a:cubicBezTo>
                    <a:pt x="533" y="184"/>
                    <a:pt x="536" y="191"/>
                    <a:pt x="536" y="188"/>
                  </a:cubicBezTo>
                  <a:cubicBezTo>
                    <a:pt x="536" y="185"/>
                    <a:pt x="539" y="169"/>
                    <a:pt x="539" y="175"/>
                  </a:cubicBezTo>
                  <a:cubicBezTo>
                    <a:pt x="539" y="181"/>
                    <a:pt x="549" y="181"/>
                    <a:pt x="545" y="186"/>
                  </a:cubicBezTo>
                  <a:cubicBezTo>
                    <a:pt x="540" y="190"/>
                    <a:pt x="543" y="191"/>
                    <a:pt x="546" y="191"/>
                  </a:cubicBezTo>
                  <a:cubicBezTo>
                    <a:pt x="550" y="191"/>
                    <a:pt x="557" y="186"/>
                    <a:pt x="557" y="186"/>
                  </a:cubicBezTo>
                  <a:cubicBezTo>
                    <a:pt x="557" y="186"/>
                    <a:pt x="565" y="182"/>
                    <a:pt x="567" y="186"/>
                  </a:cubicBezTo>
                  <a:cubicBezTo>
                    <a:pt x="569" y="189"/>
                    <a:pt x="569" y="193"/>
                    <a:pt x="573" y="193"/>
                  </a:cubicBezTo>
                  <a:cubicBezTo>
                    <a:pt x="576" y="193"/>
                    <a:pt x="584" y="188"/>
                    <a:pt x="577" y="184"/>
                  </a:cubicBezTo>
                  <a:cubicBezTo>
                    <a:pt x="571" y="180"/>
                    <a:pt x="566" y="180"/>
                    <a:pt x="562" y="175"/>
                  </a:cubicBezTo>
                  <a:cubicBezTo>
                    <a:pt x="558" y="170"/>
                    <a:pt x="559" y="172"/>
                    <a:pt x="555" y="174"/>
                  </a:cubicBezTo>
                  <a:cubicBezTo>
                    <a:pt x="550" y="175"/>
                    <a:pt x="550" y="172"/>
                    <a:pt x="548" y="172"/>
                  </a:cubicBezTo>
                  <a:cubicBezTo>
                    <a:pt x="547" y="172"/>
                    <a:pt x="544" y="173"/>
                    <a:pt x="543" y="170"/>
                  </a:cubicBezTo>
                  <a:cubicBezTo>
                    <a:pt x="542" y="168"/>
                    <a:pt x="544" y="167"/>
                    <a:pt x="549" y="167"/>
                  </a:cubicBezTo>
                  <a:cubicBezTo>
                    <a:pt x="554" y="167"/>
                    <a:pt x="560" y="169"/>
                    <a:pt x="560" y="169"/>
                  </a:cubicBezTo>
                  <a:cubicBezTo>
                    <a:pt x="560" y="169"/>
                    <a:pt x="566" y="167"/>
                    <a:pt x="568" y="166"/>
                  </a:cubicBezTo>
                  <a:cubicBezTo>
                    <a:pt x="570" y="166"/>
                    <a:pt x="578" y="164"/>
                    <a:pt x="576" y="159"/>
                  </a:cubicBezTo>
                  <a:cubicBezTo>
                    <a:pt x="575" y="153"/>
                    <a:pt x="570" y="153"/>
                    <a:pt x="568" y="152"/>
                  </a:cubicBezTo>
                  <a:cubicBezTo>
                    <a:pt x="566" y="150"/>
                    <a:pt x="571" y="147"/>
                    <a:pt x="574" y="146"/>
                  </a:cubicBezTo>
                  <a:cubicBezTo>
                    <a:pt x="576" y="145"/>
                    <a:pt x="583" y="146"/>
                    <a:pt x="583" y="146"/>
                  </a:cubicBezTo>
                  <a:cubicBezTo>
                    <a:pt x="583" y="146"/>
                    <a:pt x="588" y="147"/>
                    <a:pt x="588" y="144"/>
                  </a:cubicBezTo>
                  <a:cubicBezTo>
                    <a:pt x="588" y="142"/>
                    <a:pt x="587" y="139"/>
                    <a:pt x="590" y="141"/>
                  </a:cubicBezTo>
                  <a:cubicBezTo>
                    <a:pt x="593" y="142"/>
                    <a:pt x="590" y="148"/>
                    <a:pt x="595" y="147"/>
                  </a:cubicBezTo>
                  <a:cubicBezTo>
                    <a:pt x="599" y="145"/>
                    <a:pt x="601" y="147"/>
                    <a:pt x="603" y="149"/>
                  </a:cubicBezTo>
                  <a:cubicBezTo>
                    <a:pt x="606" y="150"/>
                    <a:pt x="603" y="158"/>
                    <a:pt x="600" y="159"/>
                  </a:cubicBezTo>
                  <a:cubicBezTo>
                    <a:pt x="597" y="160"/>
                    <a:pt x="593" y="163"/>
                    <a:pt x="599" y="163"/>
                  </a:cubicBezTo>
                  <a:cubicBezTo>
                    <a:pt x="605" y="164"/>
                    <a:pt x="609" y="164"/>
                    <a:pt x="609" y="164"/>
                  </a:cubicBezTo>
                  <a:cubicBezTo>
                    <a:pt x="609" y="164"/>
                    <a:pt x="612" y="160"/>
                    <a:pt x="614" y="156"/>
                  </a:cubicBezTo>
                  <a:cubicBezTo>
                    <a:pt x="615" y="152"/>
                    <a:pt x="618" y="155"/>
                    <a:pt x="620" y="156"/>
                  </a:cubicBezTo>
                  <a:cubicBezTo>
                    <a:pt x="622" y="157"/>
                    <a:pt x="630" y="159"/>
                    <a:pt x="623" y="161"/>
                  </a:cubicBezTo>
                  <a:cubicBezTo>
                    <a:pt x="615" y="164"/>
                    <a:pt x="614" y="167"/>
                    <a:pt x="612" y="170"/>
                  </a:cubicBezTo>
                  <a:cubicBezTo>
                    <a:pt x="611" y="173"/>
                    <a:pt x="610" y="175"/>
                    <a:pt x="604" y="173"/>
                  </a:cubicBezTo>
                  <a:cubicBezTo>
                    <a:pt x="597" y="171"/>
                    <a:pt x="593" y="172"/>
                    <a:pt x="592" y="175"/>
                  </a:cubicBezTo>
                  <a:cubicBezTo>
                    <a:pt x="590" y="178"/>
                    <a:pt x="591" y="188"/>
                    <a:pt x="594" y="186"/>
                  </a:cubicBezTo>
                  <a:cubicBezTo>
                    <a:pt x="596" y="185"/>
                    <a:pt x="599" y="185"/>
                    <a:pt x="602" y="184"/>
                  </a:cubicBezTo>
                  <a:cubicBezTo>
                    <a:pt x="605" y="183"/>
                    <a:pt x="618" y="185"/>
                    <a:pt x="621" y="184"/>
                  </a:cubicBezTo>
                  <a:cubicBezTo>
                    <a:pt x="624" y="184"/>
                    <a:pt x="629" y="191"/>
                    <a:pt x="630" y="189"/>
                  </a:cubicBezTo>
                  <a:cubicBezTo>
                    <a:pt x="632" y="188"/>
                    <a:pt x="635" y="192"/>
                    <a:pt x="638" y="194"/>
                  </a:cubicBezTo>
                  <a:cubicBezTo>
                    <a:pt x="641" y="197"/>
                    <a:pt x="640" y="189"/>
                    <a:pt x="646" y="194"/>
                  </a:cubicBezTo>
                  <a:cubicBezTo>
                    <a:pt x="652" y="199"/>
                    <a:pt x="649" y="199"/>
                    <a:pt x="652" y="199"/>
                  </a:cubicBezTo>
                  <a:cubicBezTo>
                    <a:pt x="655" y="199"/>
                    <a:pt x="661" y="199"/>
                    <a:pt x="661" y="199"/>
                  </a:cubicBezTo>
                  <a:cubicBezTo>
                    <a:pt x="661" y="199"/>
                    <a:pt x="662" y="193"/>
                    <a:pt x="667" y="194"/>
                  </a:cubicBezTo>
                  <a:cubicBezTo>
                    <a:pt x="672" y="195"/>
                    <a:pt x="677" y="202"/>
                    <a:pt x="676" y="197"/>
                  </a:cubicBezTo>
                  <a:cubicBezTo>
                    <a:pt x="676" y="192"/>
                    <a:pt x="677" y="189"/>
                    <a:pt x="673" y="185"/>
                  </a:cubicBezTo>
                  <a:cubicBezTo>
                    <a:pt x="669" y="181"/>
                    <a:pt x="662" y="179"/>
                    <a:pt x="661" y="177"/>
                  </a:cubicBezTo>
                  <a:cubicBezTo>
                    <a:pt x="660" y="175"/>
                    <a:pt x="659" y="173"/>
                    <a:pt x="660" y="172"/>
                  </a:cubicBezTo>
                  <a:cubicBezTo>
                    <a:pt x="662" y="170"/>
                    <a:pt x="669" y="172"/>
                    <a:pt x="673" y="175"/>
                  </a:cubicBezTo>
                  <a:cubicBezTo>
                    <a:pt x="677" y="178"/>
                    <a:pt x="681" y="181"/>
                    <a:pt x="684" y="179"/>
                  </a:cubicBezTo>
                  <a:cubicBezTo>
                    <a:pt x="687" y="177"/>
                    <a:pt x="691" y="175"/>
                    <a:pt x="692" y="174"/>
                  </a:cubicBezTo>
                  <a:cubicBezTo>
                    <a:pt x="694" y="172"/>
                    <a:pt x="698" y="166"/>
                    <a:pt x="698" y="166"/>
                  </a:cubicBezTo>
                  <a:cubicBezTo>
                    <a:pt x="698" y="166"/>
                    <a:pt x="682" y="164"/>
                    <a:pt x="680" y="161"/>
                  </a:cubicBezTo>
                  <a:cubicBezTo>
                    <a:pt x="678" y="158"/>
                    <a:pt x="671" y="153"/>
                    <a:pt x="669" y="153"/>
                  </a:cubicBezTo>
                  <a:cubicBezTo>
                    <a:pt x="667" y="153"/>
                    <a:pt x="661" y="158"/>
                    <a:pt x="659" y="152"/>
                  </a:cubicBezTo>
                  <a:cubicBezTo>
                    <a:pt x="657" y="145"/>
                    <a:pt x="657" y="138"/>
                    <a:pt x="655" y="138"/>
                  </a:cubicBezTo>
                  <a:cubicBezTo>
                    <a:pt x="653" y="137"/>
                    <a:pt x="631" y="133"/>
                    <a:pt x="628" y="131"/>
                  </a:cubicBezTo>
                  <a:cubicBezTo>
                    <a:pt x="625" y="130"/>
                    <a:pt x="612" y="125"/>
                    <a:pt x="608" y="122"/>
                  </a:cubicBezTo>
                  <a:cubicBezTo>
                    <a:pt x="603" y="119"/>
                    <a:pt x="596" y="115"/>
                    <a:pt x="592" y="115"/>
                  </a:cubicBezTo>
                  <a:cubicBezTo>
                    <a:pt x="588" y="115"/>
                    <a:pt x="571" y="117"/>
                    <a:pt x="568" y="117"/>
                  </a:cubicBezTo>
                  <a:cubicBezTo>
                    <a:pt x="565" y="116"/>
                    <a:pt x="556" y="118"/>
                    <a:pt x="552" y="119"/>
                  </a:cubicBezTo>
                  <a:cubicBezTo>
                    <a:pt x="548" y="119"/>
                    <a:pt x="557" y="127"/>
                    <a:pt x="549" y="129"/>
                  </a:cubicBezTo>
                  <a:cubicBezTo>
                    <a:pt x="541" y="131"/>
                    <a:pt x="542" y="132"/>
                    <a:pt x="544" y="123"/>
                  </a:cubicBezTo>
                  <a:cubicBezTo>
                    <a:pt x="545" y="114"/>
                    <a:pt x="539" y="111"/>
                    <a:pt x="532" y="115"/>
                  </a:cubicBezTo>
                  <a:cubicBezTo>
                    <a:pt x="525" y="119"/>
                    <a:pt x="514" y="121"/>
                    <a:pt x="517" y="125"/>
                  </a:cubicBezTo>
                  <a:cubicBezTo>
                    <a:pt x="519" y="130"/>
                    <a:pt x="516" y="133"/>
                    <a:pt x="522" y="137"/>
                  </a:cubicBezTo>
                  <a:cubicBezTo>
                    <a:pt x="527" y="141"/>
                    <a:pt x="529" y="142"/>
                    <a:pt x="535" y="142"/>
                  </a:cubicBezTo>
                  <a:cubicBezTo>
                    <a:pt x="542" y="141"/>
                    <a:pt x="549" y="143"/>
                    <a:pt x="549" y="143"/>
                  </a:cubicBezTo>
                  <a:cubicBezTo>
                    <a:pt x="549" y="143"/>
                    <a:pt x="549" y="150"/>
                    <a:pt x="546" y="152"/>
                  </a:cubicBezTo>
                  <a:cubicBezTo>
                    <a:pt x="544" y="153"/>
                    <a:pt x="540" y="153"/>
                    <a:pt x="539" y="156"/>
                  </a:cubicBezTo>
                  <a:cubicBezTo>
                    <a:pt x="538" y="160"/>
                    <a:pt x="532" y="162"/>
                    <a:pt x="532" y="160"/>
                  </a:cubicBezTo>
                  <a:cubicBezTo>
                    <a:pt x="532" y="158"/>
                    <a:pt x="535" y="152"/>
                    <a:pt x="531" y="149"/>
                  </a:cubicBezTo>
                  <a:cubicBezTo>
                    <a:pt x="528" y="146"/>
                    <a:pt x="527" y="145"/>
                    <a:pt x="523" y="149"/>
                  </a:cubicBezTo>
                  <a:cubicBezTo>
                    <a:pt x="518" y="152"/>
                    <a:pt x="518" y="153"/>
                    <a:pt x="516" y="148"/>
                  </a:cubicBezTo>
                  <a:cubicBezTo>
                    <a:pt x="514" y="143"/>
                    <a:pt x="508" y="139"/>
                    <a:pt x="508" y="139"/>
                  </a:cubicBezTo>
                  <a:cubicBezTo>
                    <a:pt x="508" y="139"/>
                    <a:pt x="503" y="133"/>
                    <a:pt x="500" y="130"/>
                  </a:cubicBezTo>
                  <a:cubicBezTo>
                    <a:pt x="497" y="127"/>
                    <a:pt x="492" y="127"/>
                    <a:pt x="491" y="130"/>
                  </a:cubicBezTo>
                  <a:cubicBezTo>
                    <a:pt x="491" y="133"/>
                    <a:pt x="492" y="136"/>
                    <a:pt x="494" y="142"/>
                  </a:cubicBezTo>
                  <a:cubicBezTo>
                    <a:pt x="496" y="147"/>
                    <a:pt x="497" y="154"/>
                    <a:pt x="493" y="155"/>
                  </a:cubicBezTo>
                  <a:cubicBezTo>
                    <a:pt x="490" y="155"/>
                    <a:pt x="491" y="160"/>
                    <a:pt x="487" y="161"/>
                  </a:cubicBezTo>
                  <a:cubicBezTo>
                    <a:pt x="483" y="162"/>
                    <a:pt x="482" y="159"/>
                    <a:pt x="482" y="154"/>
                  </a:cubicBezTo>
                  <a:cubicBezTo>
                    <a:pt x="482" y="149"/>
                    <a:pt x="480" y="145"/>
                    <a:pt x="481" y="143"/>
                  </a:cubicBezTo>
                  <a:cubicBezTo>
                    <a:pt x="482" y="141"/>
                    <a:pt x="477" y="144"/>
                    <a:pt x="472" y="143"/>
                  </a:cubicBezTo>
                  <a:cubicBezTo>
                    <a:pt x="467" y="142"/>
                    <a:pt x="463" y="145"/>
                    <a:pt x="468" y="147"/>
                  </a:cubicBezTo>
                  <a:cubicBezTo>
                    <a:pt x="473" y="149"/>
                    <a:pt x="474" y="156"/>
                    <a:pt x="469" y="158"/>
                  </a:cubicBezTo>
                  <a:cubicBezTo>
                    <a:pt x="465" y="160"/>
                    <a:pt x="447" y="158"/>
                    <a:pt x="441" y="158"/>
                  </a:cubicBezTo>
                  <a:cubicBezTo>
                    <a:pt x="436" y="158"/>
                    <a:pt x="428" y="160"/>
                    <a:pt x="426" y="156"/>
                  </a:cubicBezTo>
                  <a:cubicBezTo>
                    <a:pt x="424" y="153"/>
                    <a:pt x="431" y="150"/>
                    <a:pt x="434" y="150"/>
                  </a:cubicBezTo>
                  <a:cubicBezTo>
                    <a:pt x="438" y="150"/>
                    <a:pt x="449" y="151"/>
                    <a:pt x="453" y="144"/>
                  </a:cubicBezTo>
                  <a:cubicBezTo>
                    <a:pt x="457" y="138"/>
                    <a:pt x="448" y="136"/>
                    <a:pt x="444" y="136"/>
                  </a:cubicBezTo>
                  <a:cubicBezTo>
                    <a:pt x="439" y="136"/>
                    <a:pt x="436" y="134"/>
                    <a:pt x="432" y="129"/>
                  </a:cubicBezTo>
                  <a:cubicBezTo>
                    <a:pt x="427" y="124"/>
                    <a:pt x="435" y="120"/>
                    <a:pt x="434" y="117"/>
                  </a:cubicBezTo>
                  <a:cubicBezTo>
                    <a:pt x="433" y="115"/>
                    <a:pt x="428" y="117"/>
                    <a:pt x="423" y="117"/>
                  </a:cubicBezTo>
                  <a:cubicBezTo>
                    <a:pt x="418" y="117"/>
                    <a:pt x="411" y="113"/>
                    <a:pt x="411" y="117"/>
                  </a:cubicBezTo>
                  <a:cubicBezTo>
                    <a:pt x="411" y="122"/>
                    <a:pt x="417" y="136"/>
                    <a:pt x="413" y="133"/>
                  </a:cubicBezTo>
                  <a:cubicBezTo>
                    <a:pt x="409" y="130"/>
                    <a:pt x="410" y="126"/>
                    <a:pt x="407" y="122"/>
                  </a:cubicBezTo>
                  <a:cubicBezTo>
                    <a:pt x="405" y="119"/>
                    <a:pt x="401" y="119"/>
                    <a:pt x="396" y="120"/>
                  </a:cubicBezTo>
                  <a:cubicBezTo>
                    <a:pt x="390" y="120"/>
                    <a:pt x="382" y="122"/>
                    <a:pt x="379" y="122"/>
                  </a:cubicBezTo>
                  <a:cubicBezTo>
                    <a:pt x="376" y="121"/>
                    <a:pt x="378" y="121"/>
                    <a:pt x="373" y="118"/>
                  </a:cubicBezTo>
                  <a:cubicBezTo>
                    <a:pt x="367" y="115"/>
                    <a:pt x="365" y="116"/>
                    <a:pt x="360" y="113"/>
                  </a:cubicBezTo>
                  <a:cubicBezTo>
                    <a:pt x="356" y="109"/>
                    <a:pt x="360" y="108"/>
                    <a:pt x="353" y="108"/>
                  </a:cubicBezTo>
                  <a:cubicBezTo>
                    <a:pt x="345" y="107"/>
                    <a:pt x="346" y="112"/>
                    <a:pt x="339" y="111"/>
                  </a:cubicBezTo>
                  <a:cubicBezTo>
                    <a:pt x="331" y="109"/>
                    <a:pt x="329" y="111"/>
                    <a:pt x="322" y="111"/>
                  </a:cubicBezTo>
                  <a:cubicBezTo>
                    <a:pt x="315" y="110"/>
                    <a:pt x="311" y="109"/>
                    <a:pt x="310" y="114"/>
                  </a:cubicBezTo>
                  <a:cubicBezTo>
                    <a:pt x="309" y="118"/>
                    <a:pt x="307" y="125"/>
                    <a:pt x="304" y="125"/>
                  </a:cubicBezTo>
                  <a:cubicBezTo>
                    <a:pt x="301" y="125"/>
                    <a:pt x="297" y="130"/>
                    <a:pt x="307" y="130"/>
                  </a:cubicBezTo>
                  <a:cubicBezTo>
                    <a:pt x="317" y="131"/>
                    <a:pt x="311" y="136"/>
                    <a:pt x="320" y="136"/>
                  </a:cubicBezTo>
                  <a:cubicBezTo>
                    <a:pt x="329" y="135"/>
                    <a:pt x="337" y="135"/>
                    <a:pt x="339" y="130"/>
                  </a:cubicBezTo>
                  <a:cubicBezTo>
                    <a:pt x="341" y="125"/>
                    <a:pt x="342" y="125"/>
                    <a:pt x="343" y="127"/>
                  </a:cubicBezTo>
                  <a:cubicBezTo>
                    <a:pt x="344" y="129"/>
                    <a:pt x="352" y="140"/>
                    <a:pt x="352" y="140"/>
                  </a:cubicBezTo>
                  <a:cubicBezTo>
                    <a:pt x="352" y="140"/>
                    <a:pt x="357" y="145"/>
                    <a:pt x="359" y="146"/>
                  </a:cubicBezTo>
                  <a:cubicBezTo>
                    <a:pt x="361" y="147"/>
                    <a:pt x="357" y="153"/>
                    <a:pt x="353" y="150"/>
                  </a:cubicBezTo>
                  <a:cubicBezTo>
                    <a:pt x="349" y="147"/>
                    <a:pt x="341" y="147"/>
                    <a:pt x="338" y="144"/>
                  </a:cubicBezTo>
                  <a:cubicBezTo>
                    <a:pt x="335" y="141"/>
                    <a:pt x="327" y="140"/>
                    <a:pt x="323" y="141"/>
                  </a:cubicBezTo>
                  <a:cubicBezTo>
                    <a:pt x="320" y="141"/>
                    <a:pt x="308" y="140"/>
                    <a:pt x="306" y="140"/>
                  </a:cubicBezTo>
                  <a:cubicBezTo>
                    <a:pt x="304" y="140"/>
                    <a:pt x="297" y="146"/>
                    <a:pt x="297" y="146"/>
                  </a:cubicBezTo>
                  <a:cubicBezTo>
                    <a:pt x="297" y="146"/>
                    <a:pt x="294" y="141"/>
                    <a:pt x="293" y="139"/>
                  </a:cubicBezTo>
                  <a:cubicBezTo>
                    <a:pt x="291" y="136"/>
                    <a:pt x="289" y="141"/>
                    <a:pt x="287" y="142"/>
                  </a:cubicBezTo>
                  <a:cubicBezTo>
                    <a:pt x="284" y="142"/>
                    <a:pt x="278" y="137"/>
                    <a:pt x="272" y="139"/>
                  </a:cubicBezTo>
                  <a:cubicBezTo>
                    <a:pt x="266" y="142"/>
                    <a:pt x="268" y="144"/>
                    <a:pt x="259" y="144"/>
                  </a:cubicBezTo>
                  <a:cubicBezTo>
                    <a:pt x="250" y="143"/>
                    <a:pt x="248" y="141"/>
                    <a:pt x="245" y="142"/>
                  </a:cubicBezTo>
                  <a:cubicBezTo>
                    <a:pt x="242" y="142"/>
                    <a:pt x="242" y="142"/>
                    <a:pt x="242" y="142"/>
                  </a:cubicBezTo>
                  <a:cubicBezTo>
                    <a:pt x="242" y="142"/>
                    <a:pt x="243" y="145"/>
                    <a:pt x="239" y="147"/>
                  </a:cubicBezTo>
                  <a:cubicBezTo>
                    <a:pt x="235" y="150"/>
                    <a:pt x="233" y="153"/>
                    <a:pt x="230" y="149"/>
                  </a:cubicBezTo>
                  <a:cubicBezTo>
                    <a:pt x="228" y="145"/>
                    <a:pt x="226" y="145"/>
                    <a:pt x="225" y="145"/>
                  </a:cubicBezTo>
                  <a:cubicBezTo>
                    <a:pt x="223" y="144"/>
                    <a:pt x="220" y="141"/>
                    <a:pt x="213" y="143"/>
                  </a:cubicBezTo>
                  <a:cubicBezTo>
                    <a:pt x="207" y="145"/>
                    <a:pt x="199" y="134"/>
                    <a:pt x="197" y="134"/>
                  </a:cubicBezTo>
                  <a:cubicBezTo>
                    <a:pt x="195" y="134"/>
                    <a:pt x="173" y="139"/>
                    <a:pt x="169" y="138"/>
                  </a:cubicBezTo>
                  <a:cubicBezTo>
                    <a:pt x="165" y="137"/>
                    <a:pt x="153" y="132"/>
                    <a:pt x="149" y="132"/>
                  </a:cubicBezTo>
                  <a:cubicBezTo>
                    <a:pt x="145" y="133"/>
                    <a:pt x="137" y="134"/>
                    <a:pt x="137" y="134"/>
                  </a:cubicBezTo>
                  <a:cubicBezTo>
                    <a:pt x="137" y="134"/>
                    <a:pt x="128" y="132"/>
                    <a:pt x="126" y="132"/>
                  </a:cubicBezTo>
                  <a:cubicBezTo>
                    <a:pt x="125" y="132"/>
                    <a:pt x="119" y="135"/>
                    <a:pt x="117" y="132"/>
                  </a:cubicBezTo>
                  <a:cubicBezTo>
                    <a:pt x="114" y="129"/>
                    <a:pt x="109" y="127"/>
                    <a:pt x="109" y="127"/>
                  </a:cubicBezTo>
                  <a:cubicBezTo>
                    <a:pt x="109" y="127"/>
                    <a:pt x="107" y="134"/>
                    <a:pt x="104" y="135"/>
                  </a:cubicBezTo>
                  <a:cubicBezTo>
                    <a:pt x="100" y="136"/>
                    <a:pt x="92" y="139"/>
                    <a:pt x="91" y="138"/>
                  </a:cubicBezTo>
                  <a:cubicBezTo>
                    <a:pt x="89" y="136"/>
                    <a:pt x="76" y="142"/>
                    <a:pt x="76" y="142"/>
                  </a:cubicBezTo>
                  <a:cubicBezTo>
                    <a:pt x="76" y="142"/>
                    <a:pt x="68" y="144"/>
                    <a:pt x="66" y="144"/>
                  </a:cubicBezTo>
                  <a:cubicBezTo>
                    <a:pt x="64" y="143"/>
                    <a:pt x="55" y="148"/>
                    <a:pt x="56" y="150"/>
                  </a:cubicBezTo>
                  <a:cubicBezTo>
                    <a:pt x="57" y="153"/>
                    <a:pt x="56" y="158"/>
                    <a:pt x="65" y="158"/>
                  </a:cubicBezTo>
                  <a:cubicBezTo>
                    <a:pt x="73" y="158"/>
                    <a:pt x="73" y="161"/>
                    <a:pt x="76" y="162"/>
                  </a:cubicBezTo>
                  <a:cubicBezTo>
                    <a:pt x="79" y="163"/>
                    <a:pt x="81" y="162"/>
                    <a:pt x="84" y="166"/>
                  </a:cubicBezTo>
                  <a:cubicBezTo>
                    <a:pt x="88" y="169"/>
                    <a:pt x="88" y="173"/>
                    <a:pt x="83" y="172"/>
                  </a:cubicBezTo>
                  <a:cubicBezTo>
                    <a:pt x="78" y="172"/>
                    <a:pt x="73" y="170"/>
                    <a:pt x="70" y="167"/>
                  </a:cubicBezTo>
                  <a:cubicBezTo>
                    <a:pt x="67" y="164"/>
                    <a:pt x="67" y="164"/>
                    <a:pt x="67" y="164"/>
                  </a:cubicBezTo>
                  <a:cubicBezTo>
                    <a:pt x="61" y="167"/>
                    <a:pt x="61" y="167"/>
                    <a:pt x="61" y="167"/>
                  </a:cubicBezTo>
                  <a:cubicBezTo>
                    <a:pt x="54" y="168"/>
                    <a:pt x="45" y="172"/>
                    <a:pt x="45" y="172"/>
                  </a:cubicBezTo>
                  <a:cubicBezTo>
                    <a:pt x="45" y="172"/>
                    <a:pt x="47" y="178"/>
                    <a:pt x="52" y="181"/>
                  </a:cubicBezTo>
                  <a:cubicBezTo>
                    <a:pt x="57" y="185"/>
                    <a:pt x="68" y="185"/>
                    <a:pt x="68" y="185"/>
                  </a:cubicBezTo>
                  <a:cubicBezTo>
                    <a:pt x="68" y="185"/>
                    <a:pt x="76" y="186"/>
                    <a:pt x="79" y="183"/>
                  </a:cubicBezTo>
                  <a:cubicBezTo>
                    <a:pt x="82" y="180"/>
                    <a:pt x="86" y="180"/>
                    <a:pt x="88" y="181"/>
                  </a:cubicBezTo>
                  <a:cubicBezTo>
                    <a:pt x="90" y="181"/>
                    <a:pt x="86" y="189"/>
                    <a:pt x="81" y="189"/>
                  </a:cubicBezTo>
                  <a:cubicBezTo>
                    <a:pt x="75" y="188"/>
                    <a:pt x="68" y="189"/>
                    <a:pt x="63" y="194"/>
                  </a:cubicBezTo>
                  <a:cubicBezTo>
                    <a:pt x="59" y="198"/>
                    <a:pt x="55" y="199"/>
                    <a:pt x="57" y="203"/>
                  </a:cubicBezTo>
                  <a:cubicBezTo>
                    <a:pt x="59" y="208"/>
                    <a:pt x="67" y="214"/>
                    <a:pt x="67" y="217"/>
                  </a:cubicBezTo>
                  <a:cubicBezTo>
                    <a:pt x="68" y="221"/>
                    <a:pt x="76" y="216"/>
                    <a:pt x="77" y="213"/>
                  </a:cubicBezTo>
                  <a:cubicBezTo>
                    <a:pt x="78" y="210"/>
                    <a:pt x="84" y="210"/>
                    <a:pt x="82" y="216"/>
                  </a:cubicBezTo>
                  <a:cubicBezTo>
                    <a:pt x="81" y="223"/>
                    <a:pt x="87" y="224"/>
                    <a:pt x="87" y="224"/>
                  </a:cubicBezTo>
                  <a:cubicBezTo>
                    <a:pt x="87" y="224"/>
                    <a:pt x="90" y="218"/>
                    <a:pt x="92" y="219"/>
                  </a:cubicBezTo>
                  <a:cubicBezTo>
                    <a:pt x="93" y="221"/>
                    <a:pt x="99" y="226"/>
                    <a:pt x="99" y="226"/>
                  </a:cubicBezTo>
                  <a:cubicBezTo>
                    <a:pt x="99" y="226"/>
                    <a:pt x="105" y="221"/>
                    <a:pt x="107" y="224"/>
                  </a:cubicBezTo>
                  <a:cubicBezTo>
                    <a:pt x="109" y="228"/>
                    <a:pt x="104" y="231"/>
                    <a:pt x="101" y="233"/>
                  </a:cubicBezTo>
                  <a:cubicBezTo>
                    <a:pt x="98" y="235"/>
                    <a:pt x="87" y="239"/>
                    <a:pt x="84" y="241"/>
                  </a:cubicBezTo>
                  <a:cubicBezTo>
                    <a:pt x="82" y="243"/>
                    <a:pt x="72" y="249"/>
                    <a:pt x="69" y="249"/>
                  </a:cubicBezTo>
                  <a:cubicBezTo>
                    <a:pt x="67" y="249"/>
                    <a:pt x="66" y="256"/>
                    <a:pt x="70" y="255"/>
                  </a:cubicBezTo>
                  <a:cubicBezTo>
                    <a:pt x="75" y="255"/>
                    <a:pt x="88" y="249"/>
                    <a:pt x="91" y="247"/>
                  </a:cubicBezTo>
                  <a:cubicBezTo>
                    <a:pt x="95" y="246"/>
                    <a:pt x="96" y="253"/>
                    <a:pt x="106" y="248"/>
                  </a:cubicBezTo>
                  <a:cubicBezTo>
                    <a:pt x="115" y="242"/>
                    <a:pt x="118" y="234"/>
                    <a:pt x="120" y="235"/>
                  </a:cubicBezTo>
                  <a:cubicBezTo>
                    <a:pt x="123" y="235"/>
                    <a:pt x="123" y="239"/>
                    <a:pt x="128" y="241"/>
                  </a:cubicBezTo>
                  <a:cubicBezTo>
                    <a:pt x="132" y="242"/>
                    <a:pt x="135" y="237"/>
                    <a:pt x="138" y="235"/>
                  </a:cubicBezTo>
                  <a:cubicBezTo>
                    <a:pt x="140" y="233"/>
                    <a:pt x="142" y="226"/>
                    <a:pt x="140" y="227"/>
                  </a:cubicBezTo>
                  <a:cubicBezTo>
                    <a:pt x="137" y="227"/>
                    <a:pt x="131" y="227"/>
                    <a:pt x="131" y="227"/>
                  </a:cubicBezTo>
                  <a:cubicBezTo>
                    <a:pt x="131" y="227"/>
                    <a:pt x="138" y="222"/>
                    <a:pt x="138" y="219"/>
                  </a:cubicBezTo>
                  <a:cubicBezTo>
                    <a:pt x="138" y="216"/>
                    <a:pt x="139" y="211"/>
                    <a:pt x="143" y="209"/>
                  </a:cubicBezTo>
                  <a:cubicBezTo>
                    <a:pt x="147" y="207"/>
                    <a:pt x="147" y="208"/>
                    <a:pt x="145" y="216"/>
                  </a:cubicBezTo>
                  <a:cubicBezTo>
                    <a:pt x="142" y="223"/>
                    <a:pt x="150" y="220"/>
                    <a:pt x="153" y="217"/>
                  </a:cubicBezTo>
                  <a:cubicBezTo>
                    <a:pt x="156" y="214"/>
                    <a:pt x="160" y="222"/>
                    <a:pt x="165" y="218"/>
                  </a:cubicBezTo>
                  <a:cubicBezTo>
                    <a:pt x="171" y="214"/>
                    <a:pt x="169" y="205"/>
                    <a:pt x="172" y="205"/>
                  </a:cubicBezTo>
                  <a:cubicBezTo>
                    <a:pt x="176" y="205"/>
                    <a:pt x="181" y="212"/>
                    <a:pt x="184" y="210"/>
                  </a:cubicBezTo>
                  <a:cubicBezTo>
                    <a:pt x="187" y="207"/>
                    <a:pt x="195" y="215"/>
                    <a:pt x="200" y="215"/>
                  </a:cubicBezTo>
                  <a:cubicBezTo>
                    <a:pt x="206" y="215"/>
                    <a:pt x="223" y="221"/>
                    <a:pt x="226" y="221"/>
                  </a:cubicBezTo>
                  <a:cubicBezTo>
                    <a:pt x="229" y="221"/>
                    <a:pt x="239" y="225"/>
                    <a:pt x="239" y="233"/>
                  </a:cubicBezTo>
                  <a:cubicBezTo>
                    <a:pt x="240" y="241"/>
                    <a:pt x="243" y="240"/>
                    <a:pt x="246" y="240"/>
                  </a:cubicBezTo>
                  <a:cubicBezTo>
                    <a:pt x="249" y="240"/>
                    <a:pt x="256" y="243"/>
                    <a:pt x="256" y="246"/>
                  </a:cubicBezTo>
                  <a:cubicBezTo>
                    <a:pt x="256" y="249"/>
                    <a:pt x="254" y="261"/>
                    <a:pt x="259" y="264"/>
                  </a:cubicBezTo>
                  <a:cubicBezTo>
                    <a:pt x="264" y="267"/>
                    <a:pt x="269" y="272"/>
                    <a:pt x="271" y="271"/>
                  </a:cubicBezTo>
                  <a:cubicBezTo>
                    <a:pt x="273" y="270"/>
                    <a:pt x="271" y="260"/>
                    <a:pt x="268" y="259"/>
                  </a:cubicBezTo>
                  <a:cubicBezTo>
                    <a:pt x="266" y="258"/>
                    <a:pt x="267" y="253"/>
                    <a:pt x="266" y="251"/>
                  </a:cubicBezTo>
                  <a:cubicBezTo>
                    <a:pt x="265" y="249"/>
                    <a:pt x="270" y="249"/>
                    <a:pt x="271" y="253"/>
                  </a:cubicBezTo>
                  <a:cubicBezTo>
                    <a:pt x="273" y="257"/>
                    <a:pt x="277" y="265"/>
                    <a:pt x="279" y="265"/>
                  </a:cubicBezTo>
                  <a:cubicBezTo>
                    <a:pt x="282" y="265"/>
                    <a:pt x="288" y="272"/>
                    <a:pt x="286" y="277"/>
                  </a:cubicBezTo>
                  <a:cubicBezTo>
                    <a:pt x="284" y="281"/>
                    <a:pt x="287" y="290"/>
                    <a:pt x="291" y="290"/>
                  </a:cubicBezTo>
                  <a:cubicBezTo>
                    <a:pt x="296" y="290"/>
                    <a:pt x="303" y="296"/>
                    <a:pt x="305" y="296"/>
                  </a:cubicBezTo>
                  <a:cubicBezTo>
                    <a:pt x="307" y="297"/>
                    <a:pt x="308" y="302"/>
                    <a:pt x="308" y="304"/>
                  </a:cubicBezTo>
                  <a:cubicBezTo>
                    <a:pt x="308" y="306"/>
                    <a:pt x="312" y="314"/>
                    <a:pt x="312" y="318"/>
                  </a:cubicBezTo>
                  <a:cubicBezTo>
                    <a:pt x="312" y="322"/>
                    <a:pt x="310" y="339"/>
                    <a:pt x="310" y="346"/>
                  </a:cubicBezTo>
                  <a:cubicBezTo>
                    <a:pt x="309" y="353"/>
                    <a:pt x="314" y="364"/>
                    <a:pt x="319" y="371"/>
                  </a:cubicBezTo>
                  <a:cubicBezTo>
                    <a:pt x="324" y="377"/>
                    <a:pt x="323" y="390"/>
                    <a:pt x="326" y="393"/>
                  </a:cubicBezTo>
                  <a:cubicBezTo>
                    <a:pt x="329" y="395"/>
                    <a:pt x="337" y="400"/>
                    <a:pt x="342" y="399"/>
                  </a:cubicBezTo>
                  <a:cubicBezTo>
                    <a:pt x="346" y="399"/>
                    <a:pt x="350" y="403"/>
                    <a:pt x="354" y="411"/>
                  </a:cubicBezTo>
                  <a:cubicBezTo>
                    <a:pt x="358" y="420"/>
                    <a:pt x="362" y="434"/>
                    <a:pt x="365" y="435"/>
                  </a:cubicBezTo>
                  <a:cubicBezTo>
                    <a:pt x="368" y="436"/>
                    <a:pt x="373" y="441"/>
                    <a:pt x="371" y="444"/>
                  </a:cubicBezTo>
                  <a:cubicBezTo>
                    <a:pt x="368" y="447"/>
                    <a:pt x="364" y="454"/>
                    <a:pt x="369" y="454"/>
                  </a:cubicBezTo>
                  <a:cubicBezTo>
                    <a:pt x="373" y="454"/>
                    <a:pt x="375" y="451"/>
                    <a:pt x="378" y="456"/>
                  </a:cubicBezTo>
                  <a:cubicBezTo>
                    <a:pt x="382" y="462"/>
                    <a:pt x="387" y="465"/>
                    <a:pt x="386" y="468"/>
                  </a:cubicBezTo>
                  <a:cubicBezTo>
                    <a:pt x="386" y="472"/>
                    <a:pt x="390" y="473"/>
                    <a:pt x="392" y="474"/>
                  </a:cubicBezTo>
                  <a:cubicBezTo>
                    <a:pt x="394" y="474"/>
                    <a:pt x="399" y="485"/>
                    <a:pt x="404" y="480"/>
                  </a:cubicBezTo>
                  <a:cubicBezTo>
                    <a:pt x="408" y="476"/>
                    <a:pt x="398" y="468"/>
                    <a:pt x="394" y="465"/>
                  </a:cubicBezTo>
                  <a:cubicBezTo>
                    <a:pt x="391" y="462"/>
                    <a:pt x="394" y="455"/>
                    <a:pt x="387" y="449"/>
                  </a:cubicBezTo>
                  <a:cubicBezTo>
                    <a:pt x="380" y="442"/>
                    <a:pt x="381" y="437"/>
                    <a:pt x="376" y="432"/>
                  </a:cubicBezTo>
                  <a:cubicBezTo>
                    <a:pt x="371" y="427"/>
                    <a:pt x="367" y="423"/>
                    <a:pt x="372" y="419"/>
                  </a:cubicBezTo>
                  <a:cubicBezTo>
                    <a:pt x="377" y="415"/>
                    <a:pt x="377" y="423"/>
                    <a:pt x="379" y="429"/>
                  </a:cubicBezTo>
                  <a:cubicBezTo>
                    <a:pt x="382" y="434"/>
                    <a:pt x="392" y="445"/>
                    <a:pt x="397" y="450"/>
                  </a:cubicBezTo>
                  <a:cubicBezTo>
                    <a:pt x="402" y="455"/>
                    <a:pt x="410" y="472"/>
                    <a:pt x="413" y="472"/>
                  </a:cubicBezTo>
                  <a:cubicBezTo>
                    <a:pt x="415" y="472"/>
                    <a:pt x="422" y="482"/>
                    <a:pt x="422" y="482"/>
                  </a:cubicBezTo>
                  <a:cubicBezTo>
                    <a:pt x="422" y="482"/>
                    <a:pt x="426" y="490"/>
                    <a:pt x="425" y="492"/>
                  </a:cubicBezTo>
                  <a:cubicBezTo>
                    <a:pt x="423" y="494"/>
                    <a:pt x="427" y="504"/>
                    <a:pt x="431" y="506"/>
                  </a:cubicBezTo>
                  <a:cubicBezTo>
                    <a:pt x="434" y="508"/>
                    <a:pt x="450" y="509"/>
                    <a:pt x="451" y="518"/>
                  </a:cubicBezTo>
                  <a:cubicBezTo>
                    <a:pt x="451" y="520"/>
                    <a:pt x="454" y="532"/>
                    <a:pt x="459" y="532"/>
                  </a:cubicBezTo>
                  <a:cubicBezTo>
                    <a:pt x="465" y="532"/>
                    <a:pt x="472" y="529"/>
                    <a:pt x="474" y="530"/>
                  </a:cubicBezTo>
                  <a:cubicBezTo>
                    <a:pt x="476" y="532"/>
                    <a:pt x="480" y="540"/>
                    <a:pt x="483" y="535"/>
                  </a:cubicBezTo>
                  <a:cubicBezTo>
                    <a:pt x="486" y="531"/>
                    <a:pt x="487" y="529"/>
                    <a:pt x="492" y="529"/>
                  </a:cubicBezTo>
                  <a:cubicBezTo>
                    <a:pt x="496" y="529"/>
                    <a:pt x="498" y="533"/>
                    <a:pt x="501" y="537"/>
                  </a:cubicBezTo>
                  <a:cubicBezTo>
                    <a:pt x="503" y="540"/>
                    <a:pt x="511" y="548"/>
                    <a:pt x="514" y="547"/>
                  </a:cubicBezTo>
                  <a:cubicBezTo>
                    <a:pt x="518" y="546"/>
                    <a:pt x="523" y="552"/>
                    <a:pt x="525" y="550"/>
                  </a:cubicBezTo>
                  <a:cubicBezTo>
                    <a:pt x="528" y="548"/>
                    <a:pt x="532" y="551"/>
                    <a:pt x="534" y="552"/>
                  </a:cubicBezTo>
                  <a:cubicBezTo>
                    <a:pt x="536" y="554"/>
                    <a:pt x="540" y="558"/>
                    <a:pt x="540" y="565"/>
                  </a:cubicBezTo>
                  <a:cubicBezTo>
                    <a:pt x="539" y="573"/>
                    <a:pt x="547" y="574"/>
                    <a:pt x="550" y="576"/>
                  </a:cubicBezTo>
                  <a:cubicBezTo>
                    <a:pt x="553" y="578"/>
                    <a:pt x="557" y="582"/>
                    <a:pt x="560" y="585"/>
                  </a:cubicBezTo>
                  <a:cubicBezTo>
                    <a:pt x="562" y="588"/>
                    <a:pt x="568" y="589"/>
                    <a:pt x="570" y="591"/>
                  </a:cubicBezTo>
                  <a:cubicBezTo>
                    <a:pt x="571" y="593"/>
                    <a:pt x="572" y="596"/>
                    <a:pt x="577" y="593"/>
                  </a:cubicBezTo>
                  <a:cubicBezTo>
                    <a:pt x="581" y="590"/>
                    <a:pt x="580" y="585"/>
                    <a:pt x="580" y="585"/>
                  </a:cubicBezTo>
                  <a:cubicBezTo>
                    <a:pt x="580" y="585"/>
                    <a:pt x="586" y="584"/>
                    <a:pt x="588" y="586"/>
                  </a:cubicBezTo>
                  <a:cubicBezTo>
                    <a:pt x="591" y="588"/>
                    <a:pt x="592" y="596"/>
                    <a:pt x="594" y="598"/>
                  </a:cubicBezTo>
                  <a:cubicBezTo>
                    <a:pt x="595" y="599"/>
                    <a:pt x="598" y="608"/>
                    <a:pt x="596" y="615"/>
                  </a:cubicBezTo>
                  <a:cubicBezTo>
                    <a:pt x="594" y="621"/>
                    <a:pt x="595" y="628"/>
                    <a:pt x="593" y="628"/>
                  </a:cubicBezTo>
                  <a:cubicBezTo>
                    <a:pt x="591" y="628"/>
                    <a:pt x="585" y="634"/>
                    <a:pt x="582" y="636"/>
                  </a:cubicBezTo>
                  <a:cubicBezTo>
                    <a:pt x="579" y="638"/>
                    <a:pt x="574" y="648"/>
                    <a:pt x="574" y="651"/>
                  </a:cubicBezTo>
                  <a:cubicBezTo>
                    <a:pt x="575" y="654"/>
                    <a:pt x="576" y="664"/>
                    <a:pt x="575" y="668"/>
                  </a:cubicBezTo>
                  <a:cubicBezTo>
                    <a:pt x="574" y="673"/>
                    <a:pt x="571" y="677"/>
                    <a:pt x="572" y="684"/>
                  </a:cubicBezTo>
                  <a:cubicBezTo>
                    <a:pt x="574" y="690"/>
                    <a:pt x="585" y="692"/>
                    <a:pt x="585" y="698"/>
                  </a:cubicBezTo>
                  <a:cubicBezTo>
                    <a:pt x="586" y="704"/>
                    <a:pt x="593" y="718"/>
                    <a:pt x="594" y="724"/>
                  </a:cubicBezTo>
                  <a:cubicBezTo>
                    <a:pt x="595" y="730"/>
                    <a:pt x="601" y="737"/>
                    <a:pt x="601" y="746"/>
                  </a:cubicBezTo>
                  <a:cubicBezTo>
                    <a:pt x="601" y="754"/>
                    <a:pt x="617" y="759"/>
                    <a:pt x="619" y="760"/>
                  </a:cubicBezTo>
                  <a:cubicBezTo>
                    <a:pt x="622" y="760"/>
                    <a:pt x="626" y="766"/>
                    <a:pt x="630" y="768"/>
                  </a:cubicBezTo>
                  <a:cubicBezTo>
                    <a:pt x="634" y="770"/>
                    <a:pt x="637" y="773"/>
                    <a:pt x="639" y="778"/>
                  </a:cubicBezTo>
                  <a:cubicBezTo>
                    <a:pt x="642" y="783"/>
                    <a:pt x="641" y="790"/>
                    <a:pt x="641" y="792"/>
                  </a:cubicBezTo>
                  <a:cubicBezTo>
                    <a:pt x="641" y="794"/>
                    <a:pt x="640" y="813"/>
                    <a:pt x="638" y="824"/>
                  </a:cubicBezTo>
                  <a:cubicBezTo>
                    <a:pt x="637" y="835"/>
                    <a:pt x="642" y="845"/>
                    <a:pt x="639" y="848"/>
                  </a:cubicBezTo>
                  <a:cubicBezTo>
                    <a:pt x="636" y="851"/>
                    <a:pt x="630" y="853"/>
                    <a:pt x="633" y="856"/>
                  </a:cubicBezTo>
                  <a:cubicBezTo>
                    <a:pt x="636" y="860"/>
                    <a:pt x="629" y="862"/>
                    <a:pt x="629" y="864"/>
                  </a:cubicBezTo>
                  <a:cubicBezTo>
                    <a:pt x="629" y="866"/>
                    <a:pt x="634" y="876"/>
                    <a:pt x="631" y="880"/>
                  </a:cubicBezTo>
                  <a:cubicBezTo>
                    <a:pt x="629" y="884"/>
                    <a:pt x="628" y="890"/>
                    <a:pt x="626" y="894"/>
                  </a:cubicBezTo>
                  <a:cubicBezTo>
                    <a:pt x="625" y="898"/>
                    <a:pt x="621" y="901"/>
                    <a:pt x="622" y="907"/>
                  </a:cubicBezTo>
                  <a:cubicBezTo>
                    <a:pt x="623" y="912"/>
                    <a:pt x="618" y="911"/>
                    <a:pt x="618" y="916"/>
                  </a:cubicBezTo>
                  <a:cubicBezTo>
                    <a:pt x="618" y="921"/>
                    <a:pt x="623" y="919"/>
                    <a:pt x="622" y="926"/>
                  </a:cubicBezTo>
                  <a:cubicBezTo>
                    <a:pt x="621" y="933"/>
                    <a:pt x="618" y="934"/>
                    <a:pt x="618" y="939"/>
                  </a:cubicBezTo>
                  <a:cubicBezTo>
                    <a:pt x="618" y="944"/>
                    <a:pt x="621" y="951"/>
                    <a:pt x="621" y="953"/>
                  </a:cubicBezTo>
                  <a:cubicBezTo>
                    <a:pt x="621" y="954"/>
                    <a:pt x="618" y="961"/>
                    <a:pt x="614" y="965"/>
                  </a:cubicBezTo>
                  <a:cubicBezTo>
                    <a:pt x="611" y="970"/>
                    <a:pt x="608" y="973"/>
                    <a:pt x="609" y="976"/>
                  </a:cubicBezTo>
                  <a:cubicBezTo>
                    <a:pt x="609" y="979"/>
                    <a:pt x="613" y="983"/>
                    <a:pt x="612" y="985"/>
                  </a:cubicBezTo>
                  <a:cubicBezTo>
                    <a:pt x="612" y="987"/>
                    <a:pt x="607" y="993"/>
                    <a:pt x="608" y="997"/>
                  </a:cubicBezTo>
                  <a:cubicBezTo>
                    <a:pt x="608" y="1001"/>
                    <a:pt x="613" y="1000"/>
                    <a:pt x="614" y="1003"/>
                  </a:cubicBezTo>
                  <a:cubicBezTo>
                    <a:pt x="615" y="1006"/>
                    <a:pt x="608" y="1008"/>
                    <a:pt x="611" y="1011"/>
                  </a:cubicBezTo>
                  <a:cubicBezTo>
                    <a:pt x="614" y="1014"/>
                    <a:pt x="618" y="1014"/>
                    <a:pt x="617" y="1021"/>
                  </a:cubicBezTo>
                  <a:cubicBezTo>
                    <a:pt x="616" y="1028"/>
                    <a:pt x="623" y="1030"/>
                    <a:pt x="624" y="1032"/>
                  </a:cubicBezTo>
                  <a:cubicBezTo>
                    <a:pt x="626" y="1034"/>
                    <a:pt x="629" y="1038"/>
                    <a:pt x="631" y="1038"/>
                  </a:cubicBezTo>
                  <a:cubicBezTo>
                    <a:pt x="634" y="1038"/>
                    <a:pt x="636" y="1036"/>
                    <a:pt x="637" y="1030"/>
                  </a:cubicBezTo>
                  <a:cubicBezTo>
                    <a:pt x="638" y="1023"/>
                    <a:pt x="645" y="1028"/>
                    <a:pt x="640" y="1033"/>
                  </a:cubicBezTo>
                  <a:cubicBezTo>
                    <a:pt x="635" y="1038"/>
                    <a:pt x="633" y="1040"/>
                    <a:pt x="634" y="1040"/>
                  </a:cubicBezTo>
                  <a:cubicBezTo>
                    <a:pt x="636" y="1040"/>
                    <a:pt x="643" y="1045"/>
                    <a:pt x="648" y="1045"/>
                  </a:cubicBezTo>
                  <a:cubicBezTo>
                    <a:pt x="652" y="1045"/>
                    <a:pt x="660" y="1043"/>
                    <a:pt x="661" y="1042"/>
                  </a:cubicBezTo>
                  <a:cubicBezTo>
                    <a:pt x="663" y="1042"/>
                    <a:pt x="674" y="1040"/>
                    <a:pt x="675" y="1038"/>
                  </a:cubicBezTo>
                  <a:cubicBezTo>
                    <a:pt x="676" y="1036"/>
                    <a:pt x="667" y="1037"/>
                    <a:pt x="662" y="1035"/>
                  </a:cubicBezTo>
                  <a:cubicBezTo>
                    <a:pt x="657" y="1033"/>
                    <a:pt x="649" y="1024"/>
                    <a:pt x="648" y="1020"/>
                  </a:cubicBezTo>
                  <a:cubicBezTo>
                    <a:pt x="647" y="1017"/>
                    <a:pt x="647" y="1009"/>
                    <a:pt x="651" y="1007"/>
                  </a:cubicBezTo>
                  <a:cubicBezTo>
                    <a:pt x="654" y="1004"/>
                    <a:pt x="663" y="996"/>
                    <a:pt x="665" y="994"/>
                  </a:cubicBezTo>
                  <a:cubicBezTo>
                    <a:pt x="667" y="992"/>
                    <a:pt x="670" y="984"/>
                    <a:pt x="669" y="983"/>
                  </a:cubicBezTo>
                  <a:cubicBezTo>
                    <a:pt x="667" y="981"/>
                    <a:pt x="659" y="983"/>
                    <a:pt x="658" y="981"/>
                  </a:cubicBezTo>
                  <a:cubicBezTo>
                    <a:pt x="657" y="979"/>
                    <a:pt x="657" y="976"/>
                    <a:pt x="662" y="972"/>
                  </a:cubicBezTo>
                  <a:cubicBezTo>
                    <a:pt x="668" y="968"/>
                    <a:pt x="670" y="962"/>
                    <a:pt x="672" y="960"/>
                  </a:cubicBezTo>
                  <a:cubicBezTo>
                    <a:pt x="674" y="958"/>
                    <a:pt x="678" y="954"/>
                    <a:pt x="680" y="950"/>
                  </a:cubicBezTo>
                  <a:cubicBezTo>
                    <a:pt x="682" y="946"/>
                    <a:pt x="678" y="948"/>
                    <a:pt x="675" y="948"/>
                  </a:cubicBezTo>
                  <a:cubicBezTo>
                    <a:pt x="672" y="948"/>
                    <a:pt x="671" y="942"/>
                    <a:pt x="671" y="939"/>
                  </a:cubicBezTo>
                  <a:cubicBezTo>
                    <a:pt x="671" y="936"/>
                    <a:pt x="678" y="940"/>
                    <a:pt x="684" y="941"/>
                  </a:cubicBezTo>
                  <a:cubicBezTo>
                    <a:pt x="690" y="942"/>
                    <a:pt x="687" y="938"/>
                    <a:pt x="687" y="934"/>
                  </a:cubicBezTo>
                  <a:cubicBezTo>
                    <a:pt x="686" y="931"/>
                    <a:pt x="688" y="925"/>
                    <a:pt x="691" y="926"/>
                  </a:cubicBezTo>
                  <a:cubicBezTo>
                    <a:pt x="694" y="928"/>
                    <a:pt x="710" y="926"/>
                    <a:pt x="712" y="925"/>
                  </a:cubicBezTo>
                  <a:cubicBezTo>
                    <a:pt x="714" y="925"/>
                    <a:pt x="720" y="914"/>
                    <a:pt x="722" y="911"/>
                  </a:cubicBezTo>
                  <a:cubicBezTo>
                    <a:pt x="724" y="907"/>
                    <a:pt x="724" y="904"/>
                    <a:pt x="722" y="903"/>
                  </a:cubicBezTo>
                  <a:cubicBezTo>
                    <a:pt x="719" y="901"/>
                    <a:pt x="712" y="894"/>
                    <a:pt x="711" y="892"/>
                  </a:cubicBezTo>
                  <a:cubicBezTo>
                    <a:pt x="710" y="890"/>
                    <a:pt x="714" y="879"/>
                    <a:pt x="715" y="876"/>
                  </a:cubicBezTo>
                  <a:cubicBezTo>
                    <a:pt x="716" y="873"/>
                    <a:pt x="715" y="894"/>
                    <a:pt x="722" y="896"/>
                  </a:cubicBezTo>
                  <a:cubicBezTo>
                    <a:pt x="729" y="899"/>
                    <a:pt x="733" y="900"/>
                    <a:pt x="740" y="893"/>
                  </a:cubicBezTo>
                  <a:cubicBezTo>
                    <a:pt x="747" y="886"/>
                    <a:pt x="752" y="881"/>
                    <a:pt x="752" y="876"/>
                  </a:cubicBezTo>
                  <a:cubicBezTo>
                    <a:pt x="753" y="871"/>
                    <a:pt x="754" y="866"/>
                    <a:pt x="757" y="864"/>
                  </a:cubicBezTo>
                  <a:cubicBezTo>
                    <a:pt x="760" y="862"/>
                    <a:pt x="762" y="864"/>
                    <a:pt x="765" y="856"/>
                  </a:cubicBezTo>
                  <a:cubicBezTo>
                    <a:pt x="768" y="848"/>
                    <a:pt x="770" y="854"/>
                    <a:pt x="773" y="847"/>
                  </a:cubicBezTo>
                  <a:cubicBezTo>
                    <a:pt x="777" y="840"/>
                    <a:pt x="768" y="832"/>
                    <a:pt x="775" y="827"/>
                  </a:cubicBezTo>
                  <a:cubicBezTo>
                    <a:pt x="781" y="822"/>
                    <a:pt x="792" y="816"/>
                    <a:pt x="792" y="816"/>
                  </a:cubicBezTo>
                  <a:cubicBezTo>
                    <a:pt x="792" y="816"/>
                    <a:pt x="795" y="814"/>
                    <a:pt x="801" y="812"/>
                  </a:cubicBezTo>
                  <a:cubicBezTo>
                    <a:pt x="807" y="810"/>
                    <a:pt x="814" y="812"/>
                    <a:pt x="816" y="808"/>
                  </a:cubicBezTo>
                  <a:cubicBezTo>
                    <a:pt x="818" y="804"/>
                    <a:pt x="820" y="796"/>
                    <a:pt x="823" y="792"/>
                  </a:cubicBezTo>
                  <a:cubicBezTo>
                    <a:pt x="826" y="788"/>
                    <a:pt x="830" y="781"/>
                    <a:pt x="828" y="778"/>
                  </a:cubicBezTo>
                  <a:cubicBezTo>
                    <a:pt x="827" y="775"/>
                    <a:pt x="832" y="762"/>
                    <a:pt x="832" y="758"/>
                  </a:cubicBezTo>
                  <a:cubicBezTo>
                    <a:pt x="831" y="754"/>
                    <a:pt x="827" y="746"/>
                    <a:pt x="834" y="738"/>
                  </a:cubicBezTo>
                  <a:cubicBezTo>
                    <a:pt x="842" y="731"/>
                    <a:pt x="850" y="720"/>
                    <a:pt x="851" y="717"/>
                  </a:cubicBezTo>
                  <a:cubicBezTo>
                    <a:pt x="851" y="714"/>
                    <a:pt x="858" y="701"/>
                    <a:pt x="857" y="695"/>
                  </a:cubicBezTo>
                  <a:cubicBezTo>
                    <a:pt x="857" y="689"/>
                    <a:pt x="851" y="682"/>
                    <a:pt x="847" y="680"/>
                  </a:cubicBezTo>
                  <a:close/>
                  <a:moveTo>
                    <a:pt x="592" y="323"/>
                  </a:moveTo>
                  <a:cubicBezTo>
                    <a:pt x="594" y="324"/>
                    <a:pt x="605" y="321"/>
                    <a:pt x="607" y="324"/>
                  </a:cubicBezTo>
                  <a:cubicBezTo>
                    <a:pt x="609" y="327"/>
                    <a:pt x="605" y="328"/>
                    <a:pt x="599" y="330"/>
                  </a:cubicBezTo>
                  <a:cubicBezTo>
                    <a:pt x="594" y="333"/>
                    <a:pt x="593" y="332"/>
                    <a:pt x="591" y="335"/>
                  </a:cubicBezTo>
                  <a:cubicBezTo>
                    <a:pt x="589" y="338"/>
                    <a:pt x="582" y="339"/>
                    <a:pt x="579" y="343"/>
                  </a:cubicBezTo>
                  <a:cubicBezTo>
                    <a:pt x="576" y="347"/>
                    <a:pt x="570" y="349"/>
                    <a:pt x="569" y="346"/>
                  </a:cubicBezTo>
                  <a:cubicBezTo>
                    <a:pt x="567" y="343"/>
                    <a:pt x="570" y="344"/>
                    <a:pt x="570" y="343"/>
                  </a:cubicBezTo>
                  <a:cubicBezTo>
                    <a:pt x="571" y="341"/>
                    <a:pt x="580" y="336"/>
                    <a:pt x="580" y="336"/>
                  </a:cubicBezTo>
                  <a:cubicBezTo>
                    <a:pt x="580" y="336"/>
                    <a:pt x="591" y="322"/>
                    <a:pt x="592" y="323"/>
                  </a:cubicBezTo>
                  <a:close/>
                  <a:moveTo>
                    <a:pt x="564" y="309"/>
                  </a:moveTo>
                  <a:cubicBezTo>
                    <a:pt x="566" y="308"/>
                    <a:pt x="573" y="308"/>
                    <a:pt x="577" y="309"/>
                  </a:cubicBezTo>
                  <a:cubicBezTo>
                    <a:pt x="580" y="310"/>
                    <a:pt x="586" y="321"/>
                    <a:pt x="583" y="321"/>
                  </a:cubicBezTo>
                  <a:cubicBezTo>
                    <a:pt x="580" y="322"/>
                    <a:pt x="576" y="319"/>
                    <a:pt x="576" y="314"/>
                  </a:cubicBezTo>
                  <a:cubicBezTo>
                    <a:pt x="576" y="310"/>
                    <a:pt x="573" y="322"/>
                    <a:pt x="575" y="326"/>
                  </a:cubicBezTo>
                  <a:cubicBezTo>
                    <a:pt x="577" y="330"/>
                    <a:pt x="571" y="334"/>
                    <a:pt x="568" y="334"/>
                  </a:cubicBezTo>
                  <a:cubicBezTo>
                    <a:pt x="566" y="334"/>
                    <a:pt x="565" y="329"/>
                    <a:pt x="565" y="323"/>
                  </a:cubicBezTo>
                  <a:cubicBezTo>
                    <a:pt x="566" y="318"/>
                    <a:pt x="562" y="313"/>
                    <a:pt x="557" y="313"/>
                  </a:cubicBezTo>
                  <a:cubicBezTo>
                    <a:pt x="551" y="314"/>
                    <a:pt x="548" y="319"/>
                    <a:pt x="546" y="321"/>
                  </a:cubicBezTo>
                  <a:cubicBezTo>
                    <a:pt x="544" y="323"/>
                    <a:pt x="544" y="333"/>
                    <a:pt x="545" y="336"/>
                  </a:cubicBezTo>
                  <a:cubicBezTo>
                    <a:pt x="545" y="338"/>
                    <a:pt x="545" y="347"/>
                    <a:pt x="540" y="346"/>
                  </a:cubicBezTo>
                  <a:cubicBezTo>
                    <a:pt x="535" y="346"/>
                    <a:pt x="536" y="335"/>
                    <a:pt x="537" y="332"/>
                  </a:cubicBezTo>
                  <a:cubicBezTo>
                    <a:pt x="538" y="328"/>
                    <a:pt x="535" y="319"/>
                    <a:pt x="538" y="314"/>
                  </a:cubicBezTo>
                  <a:cubicBezTo>
                    <a:pt x="540" y="309"/>
                    <a:pt x="546" y="307"/>
                    <a:pt x="550" y="307"/>
                  </a:cubicBezTo>
                  <a:cubicBezTo>
                    <a:pt x="554" y="306"/>
                    <a:pt x="563" y="310"/>
                    <a:pt x="564" y="309"/>
                  </a:cubicBezTo>
                  <a:close/>
                  <a:moveTo>
                    <a:pt x="524" y="293"/>
                  </a:moveTo>
                  <a:cubicBezTo>
                    <a:pt x="531" y="289"/>
                    <a:pt x="538" y="281"/>
                    <a:pt x="541" y="285"/>
                  </a:cubicBezTo>
                  <a:cubicBezTo>
                    <a:pt x="544" y="288"/>
                    <a:pt x="550" y="293"/>
                    <a:pt x="554" y="293"/>
                  </a:cubicBezTo>
                  <a:cubicBezTo>
                    <a:pt x="557" y="294"/>
                    <a:pt x="553" y="301"/>
                    <a:pt x="551" y="302"/>
                  </a:cubicBezTo>
                  <a:cubicBezTo>
                    <a:pt x="549" y="302"/>
                    <a:pt x="544" y="300"/>
                    <a:pt x="539" y="300"/>
                  </a:cubicBezTo>
                  <a:cubicBezTo>
                    <a:pt x="534" y="300"/>
                    <a:pt x="535" y="297"/>
                    <a:pt x="533" y="297"/>
                  </a:cubicBezTo>
                  <a:cubicBezTo>
                    <a:pt x="531" y="298"/>
                    <a:pt x="527" y="299"/>
                    <a:pt x="524" y="301"/>
                  </a:cubicBezTo>
                  <a:cubicBezTo>
                    <a:pt x="520" y="303"/>
                    <a:pt x="515" y="303"/>
                    <a:pt x="515" y="299"/>
                  </a:cubicBezTo>
                  <a:cubicBezTo>
                    <a:pt x="515" y="294"/>
                    <a:pt x="517" y="296"/>
                    <a:pt x="524" y="293"/>
                  </a:cubicBezTo>
                  <a:close/>
                  <a:moveTo>
                    <a:pt x="321" y="303"/>
                  </a:moveTo>
                  <a:cubicBezTo>
                    <a:pt x="318" y="303"/>
                    <a:pt x="316" y="296"/>
                    <a:pt x="316" y="293"/>
                  </a:cubicBezTo>
                  <a:cubicBezTo>
                    <a:pt x="315" y="290"/>
                    <a:pt x="310" y="290"/>
                    <a:pt x="308" y="288"/>
                  </a:cubicBezTo>
                  <a:cubicBezTo>
                    <a:pt x="305" y="286"/>
                    <a:pt x="299" y="277"/>
                    <a:pt x="304" y="279"/>
                  </a:cubicBezTo>
                  <a:cubicBezTo>
                    <a:pt x="305" y="280"/>
                    <a:pt x="308" y="283"/>
                    <a:pt x="310" y="283"/>
                  </a:cubicBezTo>
                  <a:cubicBezTo>
                    <a:pt x="311" y="283"/>
                    <a:pt x="319" y="291"/>
                    <a:pt x="321" y="293"/>
                  </a:cubicBezTo>
                  <a:cubicBezTo>
                    <a:pt x="323" y="296"/>
                    <a:pt x="323" y="302"/>
                    <a:pt x="321" y="303"/>
                  </a:cubicBezTo>
                  <a:close/>
                  <a:moveTo>
                    <a:pt x="559" y="195"/>
                  </a:moveTo>
                  <a:cubicBezTo>
                    <a:pt x="557" y="197"/>
                    <a:pt x="565" y="200"/>
                    <a:pt x="566" y="197"/>
                  </a:cubicBezTo>
                  <a:cubicBezTo>
                    <a:pt x="568" y="195"/>
                    <a:pt x="562" y="191"/>
                    <a:pt x="559" y="195"/>
                  </a:cubicBezTo>
                  <a:close/>
                  <a:moveTo>
                    <a:pt x="579" y="199"/>
                  </a:moveTo>
                  <a:cubicBezTo>
                    <a:pt x="573" y="201"/>
                    <a:pt x="578" y="205"/>
                    <a:pt x="582" y="204"/>
                  </a:cubicBezTo>
                  <a:cubicBezTo>
                    <a:pt x="585" y="202"/>
                    <a:pt x="583" y="197"/>
                    <a:pt x="579" y="199"/>
                  </a:cubicBezTo>
                  <a:close/>
                  <a:moveTo>
                    <a:pt x="329" y="102"/>
                  </a:moveTo>
                  <a:cubicBezTo>
                    <a:pt x="334" y="102"/>
                    <a:pt x="341" y="102"/>
                    <a:pt x="343" y="101"/>
                  </a:cubicBezTo>
                  <a:cubicBezTo>
                    <a:pt x="345" y="100"/>
                    <a:pt x="356" y="97"/>
                    <a:pt x="355" y="101"/>
                  </a:cubicBezTo>
                  <a:cubicBezTo>
                    <a:pt x="355" y="104"/>
                    <a:pt x="359" y="110"/>
                    <a:pt x="362" y="109"/>
                  </a:cubicBezTo>
                  <a:cubicBezTo>
                    <a:pt x="364" y="108"/>
                    <a:pt x="369" y="103"/>
                    <a:pt x="371" y="105"/>
                  </a:cubicBezTo>
                  <a:cubicBezTo>
                    <a:pt x="374" y="107"/>
                    <a:pt x="374" y="112"/>
                    <a:pt x="377" y="113"/>
                  </a:cubicBezTo>
                  <a:cubicBezTo>
                    <a:pt x="379" y="114"/>
                    <a:pt x="386" y="114"/>
                    <a:pt x="389" y="113"/>
                  </a:cubicBezTo>
                  <a:cubicBezTo>
                    <a:pt x="392" y="112"/>
                    <a:pt x="400" y="112"/>
                    <a:pt x="404" y="113"/>
                  </a:cubicBezTo>
                  <a:cubicBezTo>
                    <a:pt x="408" y="114"/>
                    <a:pt x="419" y="116"/>
                    <a:pt x="420" y="114"/>
                  </a:cubicBezTo>
                  <a:cubicBezTo>
                    <a:pt x="421" y="111"/>
                    <a:pt x="424" y="111"/>
                    <a:pt x="424" y="108"/>
                  </a:cubicBezTo>
                  <a:cubicBezTo>
                    <a:pt x="425" y="106"/>
                    <a:pt x="426" y="98"/>
                    <a:pt x="426" y="98"/>
                  </a:cubicBezTo>
                  <a:cubicBezTo>
                    <a:pt x="426" y="98"/>
                    <a:pt x="424" y="94"/>
                    <a:pt x="421" y="96"/>
                  </a:cubicBezTo>
                  <a:cubicBezTo>
                    <a:pt x="418" y="98"/>
                    <a:pt x="416" y="99"/>
                    <a:pt x="413" y="98"/>
                  </a:cubicBezTo>
                  <a:cubicBezTo>
                    <a:pt x="410" y="97"/>
                    <a:pt x="410" y="91"/>
                    <a:pt x="405" y="92"/>
                  </a:cubicBezTo>
                  <a:cubicBezTo>
                    <a:pt x="399" y="93"/>
                    <a:pt x="398" y="97"/>
                    <a:pt x="397" y="98"/>
                  </a:cubicBezTo>
                  <a:cubicBezTo>
                    <a:pt x="395" y="100"/>
                    <a:pt x="391" y="101"/>
                    <a:pt x="390" y="101"/>
                  </a:cubicBezTo>
                  <a:cubicBezTo>
                    <a:pt x="388" y="100"/>
                    <a:pt x="380" y="94"/>
                    <a:pt x="380" y="94"/>
                  </a:cubicBezTo>
                  <a:cubicBezTo>
                    <a:pt x="380" y="94"/>
                    <a:pt x="364" y="94"/>
                    <a:pt x="363" y="91"/>
                  </a:cubicBezTo>
                  <a:cubicBezTo>
                    <a:pt x="362" y="89"/>
                    <a:pt x="360" y="85"/>
                    <a:pt x="352" y="85"/>
                  </a:cubicBezTo>
                  <a:cubicBezTo>
                    <a:pt x="345" y="86"/>
                    <a:pt x="331" y="92"/>
                    <a:pt x="329" y="92"/>
                  </a:cubicBezTo>
                  <a:cubicBezTo>
                    <a:pt x="327" y="92"/>
                    <a:pt x="332" y="96"/>
                    <a:pt x="329" y="96"/>
                  </a:cubicBezTo>
                  <a:cubicBezTo>
                    <a:pt x="326" y="96"/>
                    <a:pt x="323" y="96"/>
                    <a:pt x="322" y="100"/>
                  </a:cubicBezTo>
                  <a:cubicBezTo>
                    <a:pt x="321" y="102"/>
                    <a:pt x="325" y="102"/>
                    <a:pt x="329" y="102"/>
                  </a:cubicBezTo>
                  <a:close/>
                  <a:moveTo>
                    <a:pt x="380" y="89"/>
                  </a:moveTo>
                  <a:cubicBezTo>
                    <a:pt x="383" y="89"/>
                    <a:pt x="390" y="86"/>
                    <a:pt x="392" y="88"/>
                  </a:cubicBezTo>
                  <a:cubicBezTo>
                    <a:pt x="394" y="90"/>
                    <a:pt x="399" y="89"/>
                    <a:pt x="399" y="87"/>
                  </a:cubicBezTo>
                  <a:cubicBezTo>
                    <a:pt x="398" y="85"/>
                    <a:pt x="401" y="77"/>
                    <a:pt x="397" y="76"/>
                  </a:cubicBezTo>
                  <a:cubicBezTo>
                    <a:pt x="392" y="76"/>
                    <a:pt x="387" y="81"/>
                    <a:pt x="380" y="83"/>
                  </a:cubicBezTo>
                  <a:cubicBezTo>
                    <a:pt x="376" y="85"/>
                    <a:pt x="377" y="89"/>
                    <a:pt x="380" y="89"/>
                  </a:cubicBezTo>
                  <a:close/>
                  <a:moveTo>
                    <a:pt x="434" y="83"/>
                  </a:moveTo>
                  <a:cubicBezTo>
                    <a:pt x="438" y="83"/>
                    <a:pt x="447" y="81"/>
                    <a:pt x="447" y="83"/>
                  </a:cubicBezTo>
                  <a:cubicBezTo>
                    <a:pt x="448" y="85"/>
                    <a:pt x="447" y="86"/>
                    <a:pt x="452" y="87"/>
                  </a:cubicBezTo>
                  <a:cubicBezTo>
                    <a:pt x="457" y="88"/>
                    <a:pt x="459" y="89"/>
                    <a:pt x="462" y="89"/>
                  </a:cubicBezTo>
                  <a:cubicBezTo>
                    <a:pt x="464" y="89"/>
                    <a:pt x="463" y="83"/>
                    <a:pt x="461" y="80"/>
                  </a:cubicBezTo>
                  <a:cubicBezTo>
                    <a:pt x="459" y="76"/>
                    <a:pt x="459" y="77"/>
                    <a:pt x="453" y="74"/>
                  </a:cubicBezTo>
                  <a:cubicBezTo>
                    <a:pt x="447" y="72"/>
                    <a:pt x="441" y="72"/>
                    <a:pt x="436" y="73"/>
                  </a:cubicBezTo>
                  <a:cubicBezTo>
                    <a:pt x="432" y="73"/>
                    <a:pt x="428" y="72"/>
                    <a:pt x="427" y="78"/>
                  </a:cubicBezTo>
                  <a:cubicBezTo>
                    <a:pt x="426" y="81"/>
                    <a:pt x="430" y="83"/>
                    <a:pt x="434" y="83"/>
                  </a:cubicBezTo>
                  <a:close/>
                  <a:moveTo>
                    <a:pt x="434" y="96"/>
                  </a:moveTo>
                  <a:cubicBezTo>
                    <a:pt x="431" y="99"/>
                    <a:pt x="434" y="107"/>
                    <a:pt x="433" y="108"/>
                  </a:cubicBezTo>
                  <a:cubicBezTo>
                    <a:pt x="432" y="109"/>
                    <a:pt x="433" y="113"/>
                    <a:pt x="436" y="112"/>
                  </a:cubicBezTo>
                  <a:cubicBezTo>
                    <a:pt x="439" y="111"/>
                    <a:pt x="440" y="103"/>
                    <a:pt x="442" y="103"/>
                  </a:cubicBezTo>
                  <a:cubicBezTo>
                    <a:pt x="444" y="103"/>
                    <a:pt x="455" y="101"/>
                    <a:pt x="456" y="105"/>
                  </a:cubicBezTo>
                  <a:cubicBezTo>
                    <a:pt x="458" y="109"/>
                    <a:pt x="458" y="107"/>
                    <a:pt x="463" y="108"/>
                  </a:cubicBezTo>
                  <a:cubicBezTo>
                    <a:pt x="468" y="108"/>
                    <a:pt x="472" y="102"/>
                    <a:pt x="472" y="100"/>
                  </a:cubicBezTo>
                  <a:cubicBezTo>
                    <a:pt x="472" y="98"/>
                    <a:pt x="470" y="94"/>
                    <a:pt x="463" y="95"/>
                  </a:cubicBezTo>
                  <a:cubicBezTo>
                    <a:pt x="456" y="96"/>
                    <a:pt x="436" y="94"/>
                    <a:pt x="434" y="96"/>
                  </a:cubicBezTo>
                  <a:close/>
                  <a:moveTo>
                    <a:pt x="460" y="117"/>
                  </a:moveTo>
                  <a:cubicBezTo>
                    <a:pt x="457" y="118"/>
                    <a:pt x="450" y="115"/>
                    <a:pt x="446" y="118"/>
                  </a:cubicBezTo>
                  <a:cubicBezTo>
                    <a:pt x="444" y="120"/>
                    <a:pt x="445" y="126"/>
                    <a:pt x="449" y="126"/>
                  </a:cubicBezTo>
                  <a:cubicBezTo>
                    <a:pt x="453" y="127"/>
                    <a:pt x="460" y="123"/>
                    <a:pt x="460" y="126"/>
                  </a:cubicBezTo>
                  <a:cubicBezTo>
                    <a:pt x="461" y="128"/>
                    <a:pt x="463" y="139"/>
                    <a:pt x="470" y="136"/>
                  </a:cubicBezTo>
                  <a:cubicBezTo>
                    <a:pt x="476" y="132"/>
                    <a:pt x="475" y="129"/>
                    <a:pt x="477" y="128"/>
                  </a:cubicBezTo>
                  <a:cubicBezTo>
                    <a:pt x="479" y="128"/>
                    <a:pt x="477" y="119"/>
                    <a:pt x="474" y="117"/>
                  </a:cubicBezTo>
                  <a:cubicBezTo>
                    <a:pt x="471" y="115"/>
                    <a:pt x="462" y="116"/>
                    <a:pt x="460" y="117"/>
                  </a:cubicBezTo>
                  <a:close/>
                  <a:moveTo>
                    <a:pt x="493" y="124"/>
                  </a:moveTo>
                  <a:cubicBezTo>
                    <a:pt x="497" y="123"/>
                    <a:pt x="504" y="122"/>
                    <a:pt x="507" y="122"/>
                  </a:cubicBezTo>
                  <a:cubicBezTo>
                    <a:pt x="510" y="122"/>
                    <a:pt x="511" y="116"/>
                    <a:pt x="507" y="115"/>
                  </a:cubicBezTo>
                  <a:cubicBezTo>
                    <a:pt x="504" y="115"/>
                    <a:pt x="501" y="111"/>
                    <a:pt x="498" y="112"/>
                  </a:cubicBezTo>
                  <a:cubicBezTo>
                    <a:pt x="495" y="114"/>
                    <a:pt x="484" y="119"/>
                    <a:pt x="485" y="122"/>
                  </a:cubicBezTo>
                  <a:cubicBezTo>
                    <a:pt x="486" y="123"/>
                    <a:pt x="488" y="125"/>
                    <a:pt x="493" y="124"/>
                  </a:cubicBezTo>
                  <a:close/>
                  <a:moveTo>
                    <a:pt x="496" y="106"/>
                  </a:moveTo>
                  <a:cubicBezTo>
                    <a:pt x="495" y="101"/>
                    <a:pt x="486" y="100"/>
                    <a:pt x="484" y="105"/>
                  </a:cubicBezTo>
                  <a:cubicBezTo>
                    <a:pt x="483" y="109"/>
                    <a:pt x="498" y="111"/>
                    <a:pt x="496" y="106"/>
                  </a:cubicBezTo>
                  <a:close/>
                  <a:moveTo>
                    <a:pt x="477" y="88"/>
                  </a:moveTo>
                  <a:cubicBezTo>
                    <a:pt x="481" y="90"/>
                    <a:pt x="487" y="93"/>
                    <a:pt x="492" y="95"/>
                  </a:cubicBezTo>
                  <a:cubicBezTo>
                    <a:pt x="496" y="97"/>
                    <a:pt x="505" y="98"/>
                    <a:pt x="507" y="102"/>
                  </a:cubicBezTo>
                  <a:cubicBezTo>
                    <a:pt x="510" y="106"/>
                    <a:pt x="519" y="109"/>
                    <a:pt x="519" y="109"/>
                  </a:cubicBezTo>
                  <a:cubicBezTo>
                    <a:pt x="530" y="110"/>
                    <a:pt x="530" y="110"/>
                    <a:pt x="530" y="110"/>
                  </a:cubicBezTo>
                  <a:cubicBezTo>
                    <a:pt x="530" y="110"/>
                    <a:pt x="538" y="108"/>
                    <a:pt x="546" y="109"/>
                  </a:cubicBezTo>
                  <a:cubicBezTo>
                    <a:pt x="554" y="110"/>
                    <a:pt x="566" y="111"/>
                    <a:pt x="572" y="111"/>
                  </a:cubicBezTo>
                  <a:cubicBezTo>
                    <a:pt x="579" y="110"/>
                    <a:pt x="580" y="108"/>
                    <a:pt x="580" y="106"/>
                  </a:cubicBezTo>
                  <a:cubicBezTo>
                    <a:pt x="581" y="105"/>
                    <a:pt x="568" y="101"/>
                    <a:pt x="565" y="102"/>
                  </a:cubicBezTo>
                  <a:cubicBezTo>
                    <a:pt x="562" y="102"/>
                    <a:pt x="545" y="102"/>
                    <a:pt x="539" y="102"/>
                  </a:cubicBezTo>
                  <a:cubicBezTo>
                    <a:pt x="534" y="101"/>
                    <a:pt x="528" y="101"/>
                    <a:pt x="524" y="102"/>
                  </a:cubicBezTo>
                  <a:cubicBezTo>
                    <a:pt x="519" y="102"/>
                    <a:pt x="516" y="98"/>
                    <a:pt x="513" y="96"/>
                  </a:cubicBezTo>
                  <a:cubicBezTo>
                    <a:pt x="510" y="94"/>
                    <a:pt x="503" y="88"/>
                    <a:pt x="499" y="87"/>
                  </a:cubicBezTo>
                  <a:cubicBezTo>
                    <a:pt x="495" y="86"/>
                    <a:pt x="496" y="86"/>
                    <a:pt x="487" y="84"/>
                  </a:cubicBezTo>
                  <a:cubicBezTo>
                    <a:pt x="483" y="83"/>
                    <a:pt x="475" y="81"/>
                    <a:pt x="475" y="80"/>
                  </a:cubicBezTo>
                  <a:cubicBezTo>
                    <a:pt x="475" y="79"/>
                    <a:pt x="473" y="85"/>
                    <a:pt x="477" y="88"/>
                  </a:cubicBezTo>
                  <a:close/>
                  <a:moveTo>
                    <a:pt x="974" y="174"/>
                  </a:moveTo>
                  <a:cubicBezTo>
                    <a:pt x="971" y="171"/>
                    <a:pt x="964" y="169"/>
                    <a:pt x="961" y="168"/>
                  </a:cubicBezTo>
                  <a:cubicBezTo>
                    <a:pt x="958" y="168"/>
                    <a:pt x="955" y="171"/>
                    <a:pt x="948" y="171"/>
                  </a:cubicBezTo>
                  <a:cubicBezTo>
                    <a:pt x="941" y="171"/>
                    <a:pt x="937" y="175"/>
                    <a:pt x="934" y="171"/>
                  </a:cubicBezTo>
                  <a:cubicBezTo>
                    <a:pt x="931" y="168"/>
                    <a:pt x="920" y="166"/>
                    <a:pt x="919" y="168"/>
                  </a:cubicBezTo>
                  <a:cubicBezTo>
                    <a:pt x="918" y="171"/>
                    <a:pt x="915" y="171"/>
                    <a:pt x="918" y="177"/>
                  </a:cubicBezTo>
                  <a:cubicBezTo>
                    <a:pt x="920" y="183"/>
                    <a:pt x="922" y="186"/>
                    <a:pt x="925" y="186"/>
                  </a:cubicBezTo>
                  <a:cubicBezTo>
                    <a:pt x="927" y="185"/>
                    <a:pt x="936" y="185"/>
                    <a:pt x="937" y="188"/>
                  </a:cubicBezTo>
                  <a:cubicBezTo>
                    <a:pt x="938" y="191"/>
                    <a:pt x="940" y="194"/>
                    <a:pt x="946" y="192"/>
                  </a:cubicBezTo>
                  <a:cubicBezTo>
                    <a:pt x="952" y="190"/>
                    <a:pt x="957" y="189"/>
                    <a:pt x="958" y="186"/>
                  </a:cubicBezTo>
                  <a:cubicBezTo>
                    <a:pt x="960" y="184"/>
                    <a:pt x="969" y="184"/>
                    <a:pt x="969" y="184"/>
                  </a:cubicBezTo>
                  <a:cubicBezTo>
                    <a:pt x="969" y="184"/>
                    <a:pt x="976" y="177"/>
                    <a:pt x="974" y="174"/>
                  </a:cubicBezTo>
                  <a:close/>
                  <a:moveTo>
                    <a:pt x="903" y="125"/>
                  </a:moveTo>
                  <a:cubicBezTo>
                    <a:pt x="901" y="122"/>
                    <a:pt x="898" y="114"/>
                    <a:pt x="905" y="113"/>
                  </a:cubicBezTo>
                  <a:cubicBezTo>
                    <a:pt x="912" y="112"/>
                    <a:pt x="924" y="121"/>
                    <a:pt x="924" y="115"/>
                  </a:cubicBezTo>
                  <a:cubicBezTo>
                    <a:pt x="923" y="108"/>
                    <a:pt x="924" y="101"/>
                    <a:pt x="926" y="98"/>
                  </a:cubicBezTo>
                  <a:cubicBezTo>
                    <a:pt x="928" y="94"/>
                    <a:pt x="932" y="92"/>
                    <a:pt x="929" y="90"/>
                  </a:cubicBezTo>
                  <a:cubicBezTo>
                    <a:pt x="927" y="89"/>
                    <a:pt x="924" y="92"/>
                    <a:pt x="922" y="86"/>
                  </a:cubicBezTo>
                  <a:cubicBezTo>
                    <a:pt x="920" y="80"/>
                    <a:pt x="924" y="75"/>
                    <a:pt x="927" y="73"/>
                  </a:cubicBezTo>
                  <a:cubicBezTo>
                    <a:pt x="929" y="70"/>
                    <a:pt x="942" y="55"/>
                    <a:pt x="950" y="52"/>
                  </a:cubicBezTo>
                  <a:cubicBezTo>
                    <a:pt x="957" y="50"/>
                    <a:pt x="962" y="40"/>
                    <a:pt x="957" y="38"/>
                  </a:cubicBezTo>
                  <a:cubicBezTo>
                    <a:pt x="952" y="36"/>
                    <a:pt x="942" y="33"/>
                    <a:pt x="935" y="39"/>
                  </a:cubicBezTo>
                  <a:cubicBezTo>
                    <a:pt x="928" y="46"/>
                    <a:pt x="925" y="52"/>
                    <a:pt x="917" y="50"/>
                  </a:cubicBezTo>
                  <a:cubicBezTo>
                    <a:pt x="910" y="48"/>
                    <a:pt x="908" y="37"/>
                    <a:pt x="904" y="31"/>
                  </a:cubicBezTo>
                  <a:cubicBezTo>
                    <a:pt x="898" y="23"/>
                    <a:pt x="902" y="7"/>
                    <a:pt x="895" y="9"/>
                  </a:cubicBezTo>
                  <a:cubicBezTo>
                    <a:pt x="888" y="10"/>
                    <a:pt x="888" y="10"/>
                    <a:pt x="888" y="10"/>
                  </a:cubicBezTo>
                  <a:cubicBezTo>
                    <a:pt x="888" y="10"/>
                    <a:pt x="881" y="8"/>
                    <a:pt x="876" y="9"/>
                  </a:cubicBezTo>
                  <a:cubicBezTo>
                    <a:pt x="870" y="11"/>
                    <a:pt x="866" y="15"/>
                    <a:pt x="862" y="15"/>
                  </a:cubicBezTo>
                  <a:cubicBezTo>
                    <a:pt x="855" y="13"/>
                    <a:pt x="849" y="17"/>
                    <a:pt x="847" y="17"/>
                  </a:cubicBezTo>
                  <a:cubicBezTo>
                    <a:pt x="831" y="21"/>
                    <a:pt x="819" y="16"/>
                    <a:pt x="817" y="16"/>
                  </a:cubicBezTo>
                  <a:cubicBezTo>
                    <a:pt x="815" y="15"/>
                    <a:pt x="828" y="17"/>
                    <a:pt x="837" y="16"/>
                  </a:cubicBezTo>
                  <a:cubicBezTo>
                    <a:pt x="845" y="14"/>
                    <a:pt x="857" y="11"/>
                    <a:pt x="864" y="10"/>
                  </a:cubicBezTo>
                  <a:cubicBezTo>
                    <a:pt x="870" y="9"/>
                    <a:pt x="865" y="6"/>
                    <a:pt x="863" y="6"/>
                  </a:cubicBezTo>
                  <a:cubicBezTo>
                    <a:pt x="855" y="5"/>
                    <a:pt x="843" y="1"/>
                    <a:pt x="833" y="0"/>
                  </a:cubicBezTo>
                  <a:cubicBezTo>
                    <a:pt x="825" y="0"/>
                    <a:pt x="821" y="2"/>
                    <a:pt x="813" y="3"/>
                  </a:cubicBezTo>
                  <a:cubicBezTo>
                    <a:pt x="804" y="3"/>
                    <a:pt x="792" y="2"/>
                    <a:pt x="785" y="8"/>
                  </a:cubicBezTo>
                  <a:cubicBezTo>
                    <a:pt x="778" y="12"/>
                    <a:pt x="770" y="13"/>
                    <a:pt x="769" y="14"/>
                  </a:cubicBezTo>
                  <a:cubicBezTo>
                    <a:pt x="765" y="19"/>
                    <a:pt x="762" y="31"/>
                    <a:pt x="758" y="28"/>
                  </a:cubicBezTo>
                  <a:cubicBezTo>
                    <a:pt x="755" y="24"/>
                    <a:pt x="754" y="16"/>
                    <a:pt x="750" y="20"/>
                  </a:cubicBezTo>
                  <a:cubicBezTo>
                    <a:pt x="745" y="23"/>
                    <a:pt x="749" y="31"/>
                    <a:pt x="746" y="37"/>
                  </a:cubicBezTo>
                  <a:cubicBezTo>
                    <a:pt x="742" y="42"/>
                    <a:pt x="731" y="42"/>
                    <a:pt x="728" y="40"/>
                  </a:cubicBezTo>
                  <a:cubicBezTo>
                    <a:pt x="725" y="38"/>
                    <a:pt x="722" y="36"/>
                    <a:pt x="709" y="37"/>
                  </a:cubicBezTo>
                  <a:cubicBezTo>
                    <a:pt x="696" y="38"/>
                    <a:pt x="683" y="42"/>
                    <a:pt x="685" y="47"/>
                  </a:cubicBezTo>
                  <a:cubicBezTo>
                    <a:pt x="688" y="52"/>
                    <a:pt x="680" y="55"/>
                    <a:pt x="678" y="53"/>
                  </a:cubicBezTo>
                  <a:cubicBezTo>
                    <a:pt x="675" y="50"/>
                    <a:pt x="665" y="55"/>
                    <a:pt x="666" y="60"/>
                  </a:cubicBezTo>
                  <a:cubicBezTo>
                    <a:pt x="667" y="65"/>
                    <a:pt x="664" y="71"/>
                    <a:pt x="659" y="70"/>
                  </a:cubicBezTo>
                  <a:cubicBezTo>
                    <a:pt x="654" y="68"/>
                    <a:pt x="650" y="72"/>
                    <a:pt x="650" y="77"/>
                  </a:cubicBezTo>
                  <a:cubicBezTo>
                    <a:pt x="649" y="81"/>
                    <a:pt x="637" y="83"/>
                    <a:pt x="636" y="83"/>
                  </a:cubicBezTo>
                  <a:cubicBezTo>
                    <a:pt x="635" y="83"/>
                    <a:pt x="620" y="83"/>
                    <a:pt x="626" y="88"/>
                  </a:cubicBezTo>
                  <a:cubicBezTo>
                    <a:pt x="629" y="91"/>
                    <a:pt x="632" y="89"/>
                    <a:pt x="636" y="90"/>
                  </a:cubicBezTo>
                  <a:cubicBezTo>
                    <a:pt x="641" y="92"/>
                    <a:pt x="645" y="101"/>
                    <a:pt x="647" y="102"/>
                  </a:cubicBezTo>
                  <a:cubicBezTo>
                    <a:pt x="650" y="103"/>
                    <a:pt x="653" y="102"/>
                    <a:pt x="655" y="99"/>
                  </a:cubicBezTo>
                  <a:cubicBezTo>
                    <a:pt x="657" y="97"/>
                    <a:pt x="659" y="88"/>
                    <a:pt x="659" y="88"/>
                  </a:cubicBezTo>
                  <a:cubicBezTo>
                    <a:pt x="659" y="88"/>
                    <a:pt x="659" y="96"/>
                    <a:pt x="663" y="98"/>
                  </a:cubicBezTo>
                  <a:cubicBezTo>
                    <a:pt x="666" y="100"/>
                    <a:pt x="676" y="97"/>
                    <a:pt x="678" y="97"/>
                  </a:cubicBezTo>
                  <a:cubicBezTo>
                    <a:pt x="681" y="98"/>
                    <a:pt x="696" y="100"/>
                    <a:pt x="700" y="103"/>
                  </a:cubicBezTo>
                  <a:cubicBezTo>
                    <a:pt x="704" y="105"/>
                    <a:pt x="714" y="107"/>
                    <a:pt x="717" y="112"/>
                  </a:cubicBezTo>
                  <a:cubicBezTo>
                    <a:pt x="719" y="117"/>
                    <a:pt x="720" y="135"/>
                    <a:pt x="721" y="138"/>
                  </a:cubicBezTo>
                  <a:cubicBezTo>
                    <a:pt x="723" y="140"/>
                    <a:pt x="728" y="131"/>
                    <a:pt x="730" y="129"/>
                  </a:cubicBezTo>
                  <a:cubicBezTo>
                    <a:pt x="731" y="127"/>
                    <a:pt x="737" y="128"/>
                    <a:pt x="740" y="131"/>
                  </a:cubicBezTo>
                  <a:cubicBezTo>
                    <a:pt x="742" y="134"/>
                    <a:pt x="747" y="141"/>
                    <a:pt x="747" y="144"/>
                  </a:cubicBezTo>
                  <a:cubicBezTo>
                    <a:pt x="746" y="146"/>
                    <a:pt x="745" y="151"/>
                    <a:pt x="743" y="149"/>
                  </a:cubicBezTo>
                  <a:cubicBezTo>
                    <a:pt x="742" y="148"/>
                    <a:pt x="738" y="148"/>
                    <a:pt x="740" y="145"/>
                  </a:cubicBezTo>
                  <a:cubicBezTo>
                    <a:pt x="741" y="142"/>
                    <a:pt x="742" y="135"/>
                    <a:pt x="739" y="135"/>
                  </a:cubicBezTo>
                  <a:cubicBezTo>
                    <a:pt x="736" y="135"/>
                    <a:pt x="734" y="135"/>
                    <a:pt x="734" y="135"/>
                  </a:cubicBezTo>
                  <a:cubicBezTo>
                    <a:pt x="734" y="135"/>
                    <a:pt x="730" y="133"/>
                    <a:pt x="726" y="139"/>
                  </a:cubicBezTo>
                  <a:cubicBezTo>
                    <a:pt x="723" y="145"/>
                    <a:pt x="726" y="151"/>
                    <a:pt x="728" y="151"/>
                  </a:cubicBezTo>
                  <a:cubicBezTo>
                    <a:pt x="730" y="151"/>
                    <a:pt x="735" y="151"/>
                    <a:pt x="735" y="153"/>
                  </a:cubicBezTo>
                  <a:cubicBezTo>
                    <a:pt x="735" y="155"/>
                    <a:pt x="730" y="160"/>
                    <a:pt x="730" y="162"/>
                  </a:cubicBezTo>
                  <a:cubicBezTo>
                    <a:pt x="731" y="165"/>
                    <a:pt x="735" y="175"/>
                    <a:pt x="736" y="177"/>
                  </a:cubicBezTo>
                  <a:cubicBezTo>
                    <a:pt x="737" y="179"/>
                    <a:pt x="744" y="181"/>
                    <a:pt x="746" y="181"/>
                  </a:cubicBezTo>
                  <a:cubicBezTo>
                    <a:pt x="748" y="182"/>
                    <a:pt x="741" y="182"/>
                    <a:pt x="743" y="185"/>
                  </a:cubicBezTo>
                  <a:cubicBezTo>
                    <a:pt x="744" y="188"/>
                    <a:pt x="747" y="195"/>
                    <a:pt x="750" y="197"/>
                  </a:cubicBezTo>
                  <a:cubicBezTo>
                    <a:pt x="754" y="198"/>
                    <a:pt x="764" y="205"/>
                    <a:pt x="765" y="209"/>
                  </a:cubicBezTo>
                  <a:cubicBezTo>
                    <a:pt x="766" y="212"/>
                    <a:pt x="774" y="206"/>
                    <a:pt x="775" y="206"/>
                  </a:cubicBezTo>
                  <a:cubicBezTo>
                    <a:pt x="777" y="205"/>
                    <a:pt x="776" y="214"/>
                    <a:pt x="781" y="215"/>
                  </a:cubicBezTo>
                  <a:cubicBezTo>
                    <a:pt x="785" y="215"/>
                    <a:pt x="787" y="214"/>
                    <a:pt x="791" y="210"/>
                  </a:cubicBezTo>
                  <a:cubicBezTo>
                    <a:pt x="794" y="207"/>
                    <a:pt x="793" y="202"/>
                    <a:pt x="794" y="198"/>
                  </a:cubicBezTo>
                  <a:cubicBezTo>
                    <a:pt x="794" y="194"/>
                    <a:pt x="794" y="192"/>
                    <a:pt x="798" y="193"/>
                  </a:cubicBezTo>
                  <a:cubicBezTo>
                    <a:pt x="802" y="194"/>
                    <a:pt x="804" y="192"/>
                    <a:pt x="804" y="188"/>
                  </a:cubicBezTo>
                  <a:cubicBezTo>
                    <a:pt x="804" y="184"/>
                    <a:pt x="800" y="179"/>
                    <a:pt x="807" y="178"/>
                  </a:cubicBezTo>
                  <a:cubicBezTo>
                    <a:pt x="813" y="177"/>
                    <a:pt x="817" y="171"/>
                    <a:pt x="821" y="171"/>
                  </a:cubicBezTo>
                  <a:cubicBezTo>
                    <a:pt x="825" y="171"/>
                    <a:pt x="836" y="173"/>
                    <a:pt x="838" y="171"/>
                  </a:cubicBezTo>
                  <a:cubicBezTo>
                    <a:pt x="839" y="169"/>
                    <a:pt x="844" y="157"/>
                    <a:pt x="848" y="157"/>
                  </a:cubicBezTo>
                  <a:cubicBezTo>
                    <a:pt x="851" y="156"/>
                    <a:pt x="860" y="158"/>
                    <a:pt x="868" y="157"/>
                  </a:cubicBezTo>
                  <a:cubicBezTo>
                    <a:pt x="877" y="155"/>
                    <a:pt x="885" y="149"/>
                    <a:pt x="888" y="149"/>
                  </a:cubicBezTo>
                  <a:cubicBezTo>
                    <a:pt x="891" y="150"/>
                    <a:pt x="898" y="150"/>
                    <a:pt x="896" y="147"/>
                  </a:cubicBezTo>
                  <a:cubicBezTo>
                    <a:pt x="894" y="145"/>
                    <a:pt x="890" y="139"/>
                    <a:pt x="886" y="139"/>
                  </a:cubicBezTo>
                  <a:cubicBezTo>
                    <a:pt x="881" y="139"/>
                    <a:pt x="880" y="127"/>
                    <a:pt x="881" y="127"/>
                  </a:cubicBezTo>
                  <a:cubicBezTo>
                    <a:pt x="883" y="127"/>
                    <a:pt x="894" y="131"/>
                    <a:pt x="894" y="135"/>
                  </a:cubicBezTo>
                  <a:cubicBezTo>
                    <a:pt x="894" y="140"/>
                    <a:pt x="896" y="145"/>
                    <a:pt x="902" y="143"/>
                  </a:cubicBezTo>
                  <a:cubicBezTo>
                    <a:pt x="908" y="142"/>
                    <a:pt x="907" y="135"/>
                    <a:pt x="906" y="134"/>
                  </a:cubicBezTo>
                  <a:cubicBezTo>
                    <a:pt x="905" y="132"/>
                    <a:pt x="904" y="128"/>
                    <a:pt x="903" y="125"/>
                  </a:cubicBezTo>
                  <a:close/>
                  <a:moveTo>
                    <a:pt x="610" y="500"/>
                  </a:moveTo>
                  <a:cubicBezTo>
                    <a:pt x="611" y="497"/>
                    <a:pt x="605" y="491"/>
                    <a:pt x="601" y="491"/>
                  </a:cubicBezTo>
                  <a:cubicBezTo>
                    <a:pt x="597" y="492"/>
                    <a:pt x="590" y="487"/>
                    <a:pt x="586" y="483"/>
                  </a:cubicBezTo>
                  <a:cubicBezTo>
                    <a:pt x="581" y="479"/>
                    <a:pt x="574" y="479"/>
                    <a:pt x="571" y="479"/>
                  </a:cubicBezTo>
                  <a:cubicBezTo>
                    <a:pt x="567" y="479"/>
                    <a:pt x="555" y="483"/>
                    <a:pt x="555" y="483"/>
                  </a:cubicBezTo>
                  <a:cubicBezTo>
                    <a:pt x="555" y="489"/>
                    <a:pt x="560" y="487"/>
                    <a:pt x="566" y="487"/>
                  </a:cubicBezTo>
                  <a:cubicBezTo>
                    <a:pt x="572" y="487"/>
                    <a:pt x="583" y="486"/>
                    <a:pt x="585" y="489"/>
                  </a:cubicBezTo>
                  <a:cubicBezTo>
                    <a:pt x="587" y="492"/>
                    <a:pt x="596" y="497"/>
                    <a:pt x="599" y="499"/>
                  </a:cubicBezTo>
                  <a:cubicBezTo>
                    <a:pt x="602" y="502"/>
                    <a:pt x="610" y="502"/>
                    <a:pt x="610" y="500"/>
                  </a:cubicBezTo>
                  <a:close/>
                  <a:moveTo>
                    <a:pt x="595" y="472"/>
                  </a:moveTo>
                  <a:cubicBezTo>
                    <a:pt x="601" y="471"/>
                    <a:pt x="597" y="465"/>
                    <a:pt x="593" y="466"/>
                  </a:cubicBezTo>
                  <a:cubicBezTo>
                    <a:pt x="588" y="466"/>
                    <a:pt x="589" y="473"/>
                    <a:pt x="595" y="472"/>
                  </a:cubicBezTo>
                  <a:close/>
                  <a:moveTo>
                    <a:pt x="595" y="516"/>
                  </a:moveTo>
                  <a:cubicBezTo>
                    <a:pt x="591" y="517"/>
                    <a:pt x="592" y="528"/>
                    <a:pt x="597" y="526"/>
                  </a:cubicBezTo>
                  <a:cubicBezTo>
                    <a:pt x="603" y="524"/>
                    <a:pt x="600" y="515"/>
                    <a:pt x="595" y="516"/>
                  </a:cubicBezTo>
                  <a:close/>
                  <a:moveTo>
                    <a:pt x="664" y="510"/>
                  </a:moveTo>
                  <a:cubicBezTo>
                    <a:pt x="659" y="511"/>
                    <a:pt x="660" y="521"/>
                    <a:pt x="666" y="519"/>
                  </a:cubicBezTo>
                  <a:cubicBezTo>
                    <a:pt x="671" y="518"/>
                    <a:pt x="668" y="509"/>
                    <a:pt x="664" y="510"/>
                  </a:cubicBezTo>
                  <a:close/>
                  <a:moveTo>
                    <a:pt x="640" y="502"/>
                  </a:moveTo>
                  <a:cubicBezTo>
                    <a:pt x="636" y="501"/>
                    <a:pt x="631" y="502"/>
                    <a:pt x="628" y="502"/>
                  </a:cubicBezTo>
                  <a:cubicBezTo>
                    <a:pt x="625" y="503"/>
                    <a:pt x="617" y="512"/>
                    <a:pt x="617" y="512"/>
                  </a:cubicBezTo>
                  <a:cubicBezTo>
                    <a:pt x="617" y="512"/>
                    <a:pt x="622" y="513"/>
                    <a:pt x="626" y="513"/>
                  </a:cubicBezTo>
                  <a:cubicBezTo>
                    <a:pt x="629" y="513"/>
                    <a:pt x="631" y="516"/>
                    <a:pt x="635" y="518"/>
                  </a:cubicBezTo>
                  <a:cubicBezTo>
                    <a:pt x="638" y="519"/>
                    <a:pt x="643" y="515"/>
                    <a:pt x="645" y="515"/>
                  </a:cubicBezTo>
                  <a:cubicBezTo>
                    <a:pt x="648" y="515"/>
                    <a:pt x="650" y="522"/>
                    <a:pt x="651" y="515"/>
                  </a:cubicBezTo>
                  <a:cubicBezTo>
                    <a:pt x="651" y="507"/>
                    <a:pt x="644" y="503"/>
                    <a:pt x="640" y="5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2739E62D-8E98-4B7E-A1DD-E3139BAF5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16775" y="5564188"/>
              <a:ext cx="1525588" cy="1892300"/>
            </a:xfrm>
            <a:custGeom>
              <a:avLst/>
              <a:gdLst>
                <a:gd name="T0" fmla="*/ 363 w 423"/>
                <a:gd name="T1" fmla="*/ 283 h 525"/>
                <a:gd name="T2" fmla="*/ 400 w 423"/>
                <a:gd name="T3" fmla="*/ 243 h 525"/>
                <a:gd name="T4" fmla="*/ 420 w 423"/>
                <a:gd name="T5" fmla="*/ 188 h 525"/>
                <a:gd name="T6" fmla="*/ 377 w 423"/>
                <a:gd name="T7" fmla="*/ 201 h 525"/>
                <a:gd name="T8" fmla="*/ 360 w 423"/>
                <a:gd name="T9" fmla="*/ 170 h 525"/>
                <a:gd name="T10" fmla="*/ 332 w 423"/>
                <a:gd name="T11" fmla="*/ 137 h 525"/>
                <a:gd name="T12" fmla="*/ 317 w 423"/>
                <a:gd name="T13" fmla="*/ 79 h 525"/>
                <a:gd name="T14" fmla="*/ 297 w 423"/>
                <a:gd name="T15" fmla="*/ 47 h 525"/>
                <a:gd name="T16" fmla="*/ 270 w 423"/>
                <a:gd name="T17" fmla="*/ 61 h 525"/>
                <a:gd name="T18" fmla="*/ 261 w 423"/>
                <a:gd name="T19" fmla="*/ 44 h 525"/>
                <a:gd name="T20" fmla="*/ 231 w 423"/>
                <a:gd name="T21" fmla="*/ 55 h 525"/>
                <a:gd name="T22" fmla="*/ 200 w 423"/>
                <a:gd name="T23" fmla="*/ 44 h 525"/>
                <a:gd name="T24" fmla="*/ 175 w 423"/>
                <a:gd name="T25" fmla="*/ 32 h 525"/>
                <a:gd name="T26" fmla="*/ 180 w 423"/>
                <a:gd name="T27" fmla="*/ 13 h 525"/>
                <a:gd name="T28" fmla="*/ 127 w 423"/>
                <a:gd name="T29" fmla="*/ 5 h 525"/>
                <a:gd name="T30" fmla="*/ 90 w 423"/>
                <a:gd name="T31" fmla="*/ 21 h 525"/>
                <a:gd name="T32" fmla="*/ 59 w 423"/>
                <a:gd name="T33" fmla="*/ 32 h 525"/>
                <a:gd name="T34" fmla="*/ 45 w 423"/>
                <a:gd name="T35" fmla="*/ 65 h 525"/>
                <a:gd name="T36" fmla="*/ 10 w 423"/>
                <a:gd name="T37" fmla="*/ 110 h 525"/>
                <a:gd name="T38" fmla="*/ 10 w 423"/>
                <a:gd name="T39" fmla="*/ 152 h 525"/>
                <a:gd name="T40" fmla="*/ 6 w 423"/>
                <a:gd name="T41" fmla="*/ 175 h 525"/>
                <a:gd name="T42" fmla="*/ 32 w 423"/>
                <a:gd name="T43" fmla="*/ 206 h 525"/>
                <a:gd name="T44" fmla="*/ 58 w 423"/>
                <a:gd name="T45" fmla="*/ 244 h 525"/>
                <a:gd name="T46" fmla="*/ 79 w 423"/>
                <a:gd name="T47" fmla="*/ 237 h 525"/>
                <a:gd name="T48" fmla="*/ 114 w 423"/>
                <a:gd name="T49" fmla="*/ 224 h 525"/>
                <a:gd name="T50" fmla="*/ 143 w 423"/>
                <a:gd name="T51" fmla="*/ 242 h 525"/>
                <a:gd name="T52" fmla="*/ 166 w 423"/>
                <a:gd name="T53" fmla="*/ 241 h 525"/>
                <a:gd name="T54" fmla="*/ 164 w 423"/>
                <a:gd name="T55" fmla="*/ 276 h 525"/>
                <a:gd name="T56" fmla="*/ 186 w 423"/>
                <a:gd name="T57" fmla="*/ 320 h 525"/>
                <a:gd name="T58" fmla="*/ 190 w 423"/>
                <a:gd name="T59" fmla="*/ 359 h 525"/>
                <a:gd name="T60" fmla="*/ 184 w 423"/>
                <a:gd name="T61" fmla="*/ 407 h 525"/>
                <a:gd name="T62" fmla="*/ 206 w 423"/>
                <a:gd name="T63" fmla="*/ 446 h 525"/>
                <a:gd name="T64" fmla="*/ 210 w 423"/>
                <a:gd name="T65" fmla="*/ 481 h 525"/>
                <a:gd name="T66" fmla="*/ 219 w 423"/>
                <a:gd name="T67" fmla="*/ 507 h 525"/>
                <a:gd name="T68" fmla="*/ 236 w 423"/>
                <a:gd name="T69" fmla="*/ 522 h 525"/>
                <a:gd name="T70" fmla="*/ 280 w 423"/>
                <a:gd name="T71" fmla="*/ 510 h 525"/>
                <a:gd name="T72" fmla="*/ 311 w 423"/>
                <a:gd name="T73" fmla="*/ 468 h 525"/>
                <a:gd name="T74" fmla="*/ 326 w 423"/>
                <a:gd name="T75" fmla="*/ 445 h 525"/>
                <a:gd name="T76" fmla="*/ 328 w 423"/>
                <a:gd name="T77" fmla="*/ 409 h 525"/>
                <a:gd name="T78" fmla="*/ 356 w 423"/>
                <a:gd name="T79" fmla="*/ 375 h 525"/>
                <a:gd name="T80" fmla="*/ 352 w 423"/>
                <a:gd name="T81" fmla="*/ 340 h 525"/>
                <a:gd name="T82" fmla="*/ 349 w 423"/>
                <a:gd name="T83" fmla="*/ 302 h 525"/>
                <a:gd name="T84" fmla="*/ 304 w 423"/>
                <a:gd name="T85" fmla="*/ 273 h 525"/>
                <a:gd name="T86" fmla="*/ 305 w 423"/>
                <a:gd name="T87" fmla="*/ 291 h 525"/>
                <a:gd name="T88" fmla="*/ 397 w 423"/>
                <a:gd name="T89" fmla="*/ 376 h 525"/>
                <a:gd name="T90" fmla="*/ 375 w 423"/>
                <a:gd name="T91" fmla="*/ 401 h 525"/>
                <a:gd name="T92" fmla="*/ 376 w 423"/>
                <a:gd name="T93" fmla="*/ 447 h 525"/>
                <a:gd name="T94" fmla="*/ 398 w 423"/>
                <a:gd name="T95" fmla="*/ 447 h 525"/>
                <a:gd name="T96" fmla="*/ 412 w 423"/>
                <a:gd name="T97" fmla="*/ 400 h 525"/>
                <a:gd name="T98" fmla="*/ 410 w 423"/>
                <a:gd name="T99" fmla="*/ 36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3" h="525">
                  <a:moveTo>
                    <a:pt x="349" y="302"/>
                  </a:moveTo>
                  <a:cubicBezTo>
                    <a:pt x="352" y="301"/>
                    <a:pt x="359" y="288"/>
                    <a:pt x="363" y="283"/>
                  </a:cubicBezTo>
                  <a:cubicBezTo>
                    <a:pt x="367" y="277"/>
                    <a:pt x="379" y="260"/>
                    <a:pt x="385" y="259"/>
                  </a:cubicBezTo>
                  <a:cubicBezTo>
                    <a:pt x="391" y="258"/>
                    <a:pt x="399" y="248"/>
                    <a:pt x="400" y="243"/>
                  </a:cubicBezTo>
                  <a:cubicBezTo>
                    <a:pt x="400" y="237"/>
                    <a:pt x="415" y="216"/>
                    <a:pt x="416" y="212"/>
                  </a:cubicBezTo>
                  <a:cubicBezTo>
                    <a:pt x="416" y="208"/>
                    <a:pt x="423" y="192"/>
                    <a:pt x="420" y="188"/>
                  </a:cubicBezTo>
                  <a:cubicBezTo>
                    <a:pt x="417" y="185"/>
                    <a:pt x="397" y="194"/>
                    <a:pt x="395" y="195"/>
                  </a:cubicBezTo>
                  <a:cubicBezTo>
                    <a:pt x="392" y="196"/>
                    <a:pt x="385" y="201"/>
                    <a:pt x="377" y="201"/>
                  </a:cubicBezTo>
                  <a:cubicBezTo>
                    <a:pt x="368" y="200"/>
                    <a:pt x="372" y="192"/>
                    <a:pt x="371" y="188"/>
                  </a:cubicBezTo>
                  <a:cubicBezTo>
                    <a:pt x="371" y="185"/>
                    <a:pt x="362" y="171"/>
                    <a:pt x="360" y="170"/>
                  </a:cubicBezTo>
                  <a:cubicBezTo>
                    <a:pt x="358" y="169"/>
                    <a:pt x="352" y="162"/>
                    <a:pt x="349" y="155"/>
                  </a:cubicBezTo>
                  <a:cubicBezTo>
                    <a:pt x="347" y="147"/>
                    <a:pt x="336" y="143"/>
                    <a:pt x="332" y="137"/>
                  </a:cubicBezTo>
                  <a:cubicBezTo>
                    <a:pt x="328" y="132"/>
                    <a:pt x="332" y="115"/>
                    <a:pt x="328" y="106"/>
                  </a:cubicBezTo>
                  <a:cubicBezTo>
                    <a:pt x="324" y="97"/>
                    <a:pt x="320" y="86"/>
                    <a:pt x="317" y="79"/>
                  </a:cubicBezTo>
                  <a:cubicBezTo>
                    <a:pt x="313" y="71"/>
                    <a:pt x="308" y="64"/>
                    <a:pt x="307" y="60"/>
                  </a:cubicBezTo>
                  <a:cubicBezTo>
                    <a:pt x="306" y="57"/>
                    <a:pt x="303" y="45"/>
                    <a:pt x="297" y="47"/>
                  </a:cubicBezTo>
                  <a:cubicBezTo>
                    <a:pt x="291" y="49"/>
                    <a:pt x="283" y="49"/>
                    <a:pt x="278" y="56"/>
                  </a:cubicBezTo>
                  <a:cubicBezTo>
                    <a:pt x="273" y="63"/>
                    <a:pt x="271" y="64"/>
                    <a:pt x="270" y="61"/>
                  </a:cubicBezTo>
                  <a:cubicBezTo>
                    <a:pt x="269" y="59"/>
                    <a:pt x="285" y="49"/>
                    <a:pt x="283" y="46"/>
                  </a:cubicBezTo>
                  <a:cubicBezTo>
                    <a:pt x="281" y="43"/>
                    <a:pt x="268" y="44"/>
                    <a:pt x="261" y="44"/>
                  </a:cubicBezTo>
                  <a:cubicBezTo>
                    <a:pt x="255" y="44"/>
                    <a:pt x="249" y="39"/>
                    <a:pt x="244" y="38"/>
                  </a:cubicBezTo>
                  <a:cubicBezTo>
                    <a:pt x="239" y="36"/>
                    <a:pt x="236" y="49"/>
                    <a:pt x="231" y="55"/>
                  </a:cubicBezTo>
                  <a:cubicBezTo>
                    <a:pt x="226" y="61"/>
                    <a:pt x="218" y="52"/>
                    <a:pt x="213" y="52"/>
                  </a:cubicBezTo>
                  <a:cubicBezTo>
                    <a:pt x="209" y="52"/>
                    <a:pt x="200" y="44"/>
                    <a:pt x="200" y="44"/>
                  </a:cubicBezTo>
                  <a:cubicBezTo>
                    <a:pt x="200" y="44"/>
                    <a:pt x="191" y="39"/>
                    <a:pt x="188" y="39"/>
                  </a:cubicBezTo>
                  <a:cubicBezTo>
                    <a:pt x="184" y="39"/>
                    <a:pt x="177" y="32"/>
                    <a:pt x="175" y="32"/>
                  </a:cubicBezTo>
                  <a:cubicBezTo>
                    <a:pt x="173" y="32"/>
                    <a:pt x="167" y="26"/>
                    <a:pt x="171" y="24"/>
                  </a:cubicBezTo>
                  <a:cubicBezTo>
                    <a:pt x="175" y="21"/>
                    <a:pt x="184" y="26"/>
                    <a:pt x="180" y="13"/>
                  </a:cubicBezTo>
                  <a:cubicBezTo>
                    <a:pt x="176" y="0"/>
                    <a:pt x="162" y="2"/>
                    <a:pt x="158" y="4"/>
                  </a:cubicBezTo>
                  <a:cubicBezTo>
                    <a:pt x="155" y="6"/>
                    <a:pt x="129" y="5"/>
                    <a:pt x="127" y="5"/>
                  </a:cubicBezTo>
                  <a:cubicBezTo>
                    <a:pt x="125" y="5"/>
                    <a:pt x="110" y="11"/>
                    <a:pt x="105" y="14"/>
                  </a:cubicBezTo>
                  <a:cubicBezTo>
                    <a:pt x="100" y="16"/>
                    <a:pt x="92" y="19"/>
                    <a:pt x="90" y="21"/>
                  </a:cubicBezTo>
                  <a:cubicBezTo>
                    <a:pt x="88" y="22"/>
                    <a:pt x="77" y="18"/>
                    <a:pt x="73" y="21"/>
                  </a:cubicBezTo>
                  <a:cubicBezTo>
                    <a:pt x="66" y="25"/>
                    <a:pt x="61" y="32"/>
                    <a:pt x="59" y="32"/>
                  </a:cubicBezTo>
                  <a:cubicBezTo>
                    <a:pt x="58" y="32"/>
                    <a:pt x="53" y="36"/>
                    <a:pt x="50" y="45"/>
                  </a:cubicBezTo>
                  <a:cubicBezTo>
                    <a:pt x="47" y="54"/>
                    <a:pt x="50" y="62"/>
                    <a:pt x="45" y="65"/>
                  </a:cubicBezTo>
                  <a:cubicBezTo>
                    <a:pt x="39" y="68"/>
                    <a:pt x="27" y="73"/>
                    <a:pt x="23" y="78"/>
                  </a:cubicBezTo>
                  <a:cubicBezTo>
                    <a:pt x="18" y="83"/>
                    <a:pt x="15" y="102"/>
                    <a:pt x="10" y="110"/>
                  </a:cubicBezTo>
                  <a:cubicBezTo>
                    <a:pt x="5" y="118"/>
                    <a:pt x="10" y="125"/>
                    <a:pt x="11" y="130"/>
                  </a:cubicBezTo>
                  <a:cubicBezTo>
                    <a:pt x="12" y="135"/>
                    <a:pt x="16" y="144"/>
                    <a:pt x="10" y="152"/>
                  </a:cubicBezTo>
                  <a:cubicBezTo>
                    <a:pt x="4" y="161"/>
                    <a:pt x="5" y="165"/>
                    <a:pt x="2" y="166"/>
                  </a:cubicBezTo>
                  <a:cubicBezTo>
                    <a:pt x="0" y="166"/>
                    <a:pt x="5" y="169"/>
                    <a:pt x="6" y="175"/>
                  </a:cubicBezTo>
                  <a:cubicBezTo>
                    <a:pt x="7" y="181"/>
                    <a:pt x="1" y="187"/>
                    <a:pt x="11" y="193"/>
                  </a:cubicBezTo>
                  <a:cubicBezTo>
                    <a:pt x="21" y="198"/>
                    <a:pt x="30" y="198"/>
                    <a:pt x="32" y="206"/>
                  </a:cubicBezTo>
                  <a:cubicBezTo>
                    <a:pt x="35" y="213"/>
                    <a:pt x="44" y="230"/>
                    <a:pt x="44" y="230"/>
                  </a:cubicBezTo>
                  <a:cubicBezTo>
                    <a:pt x="44" y="230"/>
                    <a:pt x="53" y="240"/>
                    <a:pt x="58" y="244"/>
                  </a:cubicBezTo>
                  <a:cubicBezTo>
                    <a:pt x="62" y="248"/>
                    <a:pt x="64" y="246"/>
                    <a:pt x="65" y="241"/>
                  </a:cubicBezTo>
                  <a:cubicBezTo>
                    <a:pt x="66" y="237"/>
                    <a:pt x="72" y="237"/>
                    <a:pt x="79" y="237"/>
                  </a:cubicBezTo>
                  <a:cubicBezTo>
                    <a:pt x="86" y="237"/>
                    <a:pt x="92" y="238"/>
                    <a:pt x="99" y="237"/>
                  </a:cubicBezTo>
                  <a:cubicBezTo>
                    <a:pt x="106" y="236"/>
                    <a:pt x="111" y="225"/>
                    <a:pt x="114" y="224"/>
                  </a:cubicBezTo>
                  <a:cubicBezTo>
                    <a:pt x="116" y="223"/>
                    <a:pt x="127" y="221"/>
                    <a:pt x="134" y="226"/>
                  </a:cubicBezTo>
                  <a:cubicBezTo>
                    <a:pt x="141" y="231"/>
                    <a:pt x="140" y="238"/>
                    <a:pt x="143" y="242"/>
                  </a:cubicBezTo>
                  <a:cubicBezTo>
                    <a:pt x="147" y="246"/>
                    <a:pt x="153" y="244"/>
                    <a:pt x="158" y="240"/>
                  </a:cubicBezTo>
                  <a:cubicBezTo>
                    <a:pt x="162" y="235"/>
                    <a:pt x="160" y="237"/>
                    <a:pt x="166" y="241"/>
                  </a:cubicBezTo>
                  <a:cubicBezTo>
                    <a:pt x="172" y="244"/>
                    <a:pt x="174" y="248"/>
                    <a:pt x="169" y="254"/>
                  </a:cubicBezTo>
                  <a:cubicBezTo>
                    <a:pt x="164" y="259"/>
                    <a:pt x="167" y="268"/>
                    <a:pt x="164" y="276"/>
                  </a:cubicBezTo>
                  <a:cubicBezTo>
                    <a:pt x="161" y="285"/>
                    <a:pt x="167" y="285"/>
                    <a:pt x="173" y="288"/>
                  </a:cubicBezTo>
                  <a:cubicBezTo>
                    <a:pt x="178" y="292"/>
                    <a:pt x="183" y="316"/>
                    <a:pt x="186" y="320"/>
                  </a:cubicBezTo>
                  <a:cubicBezTo>
                    <a:pt x="189" y="324"/>
                    <a:pt x="185" y="337"/>
                    <a:pt x="189" y="344"/>
                  </a:cubicBezTo>
                  <a:cubicBezTo>
                    <a:pt x="192" y="351"/>
                    <a:pt x="194" y="356"/>
                    <a:pt x="190" y="359"/>
                  </a:cubicBezTo>
                  <a:cubicBezTo>
                    <a:pt x="186" y="363"/>
                    <a:pt x="180" y="370"/>
                    <a:pt x="180" y="382"/>
                  </a:cubicBezTo>
                  <a:cubicBezTo>
                    <a:pt x="179" y="395"/>
                    <a:pt x="182" y="403"/>
                    <a:pt x="184" y="407"/>
                  </a:cubicBezTo>
                  <a:cubicBezTo>
                    <a:pt x="186" y="412"/>
                    <a:pt x="191" y="423"/>
                    <a:pt x="194" y="427"/>
                  </a:cubicBezTo>
                  <a:cubicBezTo>
                    <a:pt x="196" y="432"/>
                    <a:pt x="205" y="440"/>
                    <a:pt x="206" y="446"/>
                  </a:cubicBezTo>
                  <a:cubicBezTo>
                    <a:pt x="206" y="453"/>
                    <a:pt x="199" y="463"/>
                    <a:pt x="202" y="467"/>
                  </a:cubicBezTo>
                  <a:cubicBezTo>
                    <a:pt x="204" y="471"/>
                    <a:pt x="206" y="476"/>
                    <a:pt x="210" y="481"/>
                  </a:cubicBezTo>
                  <a:cubicBezTo>
                    <a:pt x="215" y="486"/>
                    <a:pt x="217" y="496"/>
                    <a:pt x="217" y="496"/>
                  </a:cubicBezTo>
                  <a:cubicBezTo>
                    <a:pt x="217" y="496"/>
                    <a:pt x="218" y="501"/>
                    <a:pt x="219" y="507"/>
                  </a:cubicBezTo>
                  <a:cubicBezTo>
                    <a:pt x="219" y="514"/>
                    <a:pt x="220" y="518"/>
                    <a:pt x="225" y="521"/>
                  </a:cubicBezTo>
                  <a:cubicBezTo>
                    <a:pt x="230" y="524"/>
                    <a:pt x="234" y="525"/>
                    <a:pt x="236" y="522"/>
                  </a:cubicBezTo>
                  <a:cubicBezTo>
                    <a:pt x="239" y="519"/>
                    <a:pt x="250" y="513"/>
                    <a:pt x="256" y="514"/>
                  </a:cubicBezTo>
                  <a:cubicBezTo>
                    <a:pt x="263" y="514"/>
                    <a:pt x="273" y="515"/>
                    <a:pt x="280" y="510"/>
                  </a:cubicBezTo>
                  <a:cubicBezTo>
                    <a:pt x="286" y="504"/>
                    <a:pt x="296" y="490"/>
                    <a:pt x="300" y="485"/>
                  </a:cubicBezTo>
                  <a:cubicBezTo>
                    <a:pt x="303" y="481"/>
                    <a:pt x="312" y="473"/>
                    <a:pt x="311" y="468"/>
                  </a:cubicBezTo>
                  <a:cubicBezTo>
                    <a:pt x="310" y="463"/>
                    <a:pt x="304" y="456"/>
                    <a:pt x="308" y="453"/>
                  </a:cubicBezTo>
                  <a:cubicBezTo>
                    <a:pt x="312" y="451"/>
                    <a:pt x="326" y="449"/>
                    <a:pt x="326" y="445"/>
                  </a:cubicBezTo>
                  <a:cubicBezTo>
                    <a:pt x="327" y="442"/>
                    <a:pt x="322" y="426"/>
                    <a:pt x="321" y="423"/>
                  </a:cubicBezTo>
                  <a:cubicBezTo>
                    <a:pt x="320" y="420"/>
                    <a:pt x="324" y="415"/>
                    <a:pt x="328" y="409"/>
                  </a:cubicBezTo>
                  <a:cubicBezTo>
                    <a:pt x="332" y="402"/>
                    <a:pt x="342" y="396"/>
                    <a:pt x="344" y="393"/>
                  </a:cubicBezTo>
                  <a:cubicBezTo>
                    <a:pt x="346" y="391"/>
                    <a:pt x="355" y="383"/>
                    <a:pt x="356" y="375"/>
                  </a:cubicBezTo>
                  <a:cubicBezTo>
                    <a:pt x="357" y="367"/>
                    <a:pt x="354" y="357"/>
                    <a:pt x="356" y="353"/>
                  </a:cubicBezTo>
                  <a:cubicBezTo>
                    <a:pt x="358" y="349"/>
                    <a:pt x="357" y="345"/>
                    <a:pt x="352" y="340"/>
                  </a:cubicBezTo>
                  <a:cubicBezTo>
                    <a:pt x="347" y="335"/>
                    <a:pt x="347" y="324"/>
                    <a:pt x="345" y="322"/>
                  </a:cubicBezTo>
                  <a:cubicBezTo>
                    <a:pt x="344" y="319"/>
                    <a:pt x="346" y="303"/>
                    <a:pt x="349" y="302"/>
                  </a:cubicBezTo>
                  <a:close/>
                  <a:moveTo>
                    <a:pt x="305" y="291"/>
                  </a:moveTo>
                  <a:cubicBezTo>
                    <a:pt x="301" y="290"/>
                    <a:pt x="302" y="276"/>
                    <a:pt x="304" y="273"/>
                  </a:cubicBezTo>
                  <a:cubicBezTo>
                    <a:pt x="305" y="269"/>
                    <a:pt x="314" y="269"/>
                    <a:pt x="316" y="271"/>
                  </a:cubicBezTo>
                  <a:cubicBezTo>
                    <a:pt x="318" y="276"/>
                    <a:pt x="310" y="292"/>
                    <a:pt x="305" y="291"/>
                  </a:cubicBezTo>
                  <a:close/>
                  <a:moveTo>
                    <a:pt x="410" y="362"/>
                  </a:moveTo>
                  <a:cubicBezTo>
                    <a:pt x="403" y="359"/>
                    <a:pt x="402" y="370"/>
                    <a:pt x="397" y="376"/>
                  </a:cubicBezTo>
                  <a:cubicBezTo>
                    <a:pt x="392" y="383"/>
                    <a:pt x="386" y="388"/>
                    <a:pt x="384" y="388"/>
                  </a:cubicBezTo>
                  <a:cubicBezTo>
                    <a:pt x="382" y="387"/>
                    <a:pt x="371" y="392"/>
                    <a:pt x="375" y="401"/>
                  </a:cubicBezTo>
                  <a:cubicBezTo>
                    <a:pt x="378" y="410"/>
                    <a:pt x="378" y="420"/>
                    <a:pt x="374" y="424"/>
                  </a:cubicBezTo>
                  <a:cubicBezTo>
                    <a:pt x="370" y="428"/>
                    <a:pt x="377" y="440"/>
                    <a:pt x="376" y="447"/>
                  </a:cubicBezTo>
                  <a:cubicBezTo>
                    <a:pt x="375" y="454"/>
                    <a:pt x="378" y="458"/>
                    <a:pt x="385" y="458"/>
                  </a:cubicBezTo>
                  <a:cubicBezTo>
                    <a:pt x="392" y="458"/>
                    <a:pt x="395" y="455"/>
                    <a:pt x="398" y="447"/>
                  </a:cubicBezTo>
                  <a:cubicBezTo>
                    <a:pt x="401" y="439"/>
                    <a:pt x="401" y="431"/>
                    <a:pt x="405" y="424"/>
                  </a:cubicBezTo>
                  <a:cubicBezTo>
                    <a:pt x="408" y="418"/>
                    <a:pt x="410" y="404"/>
                    <a:pt x="412" y="400"/>
                  </a:cubicBezTo>
                  <a:cubicBezTo>
                    <a:pt x="413" y="396"/>
                    <a:pt x="416" y="385"/>
                    <a:pt x="416" y="378"/>
                  </a:cubicBezTo>
                  <a:cubicBezTo>
                    <a:pt x="415" y="371"/>
                    <a:pt x="413" y="363"/>
                    <a:pt x="410" y="3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D2812397-87E1-4CDF-9988-087C43E6E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3163" y="6818313"/>
              <a:ext cx="1514475" cy="947738"/>
            </a:xfrm>
            <a:custGeom>
              <a:avLst/>
              <a:gdLst>
                <a:gd name="T0" fmla="*/ 393 w 420"/>
                <a:gd name="T1" fmla="*/ 196 h 263"/>
                <a:gd name="T2" fmla="*/ 377 w 420"/>
                <a:gd name="T3" fmla="*/ 177 h 263"/>
                <a:gd name="T4" fmla="*/ 382 w 420"/>
                <a:gd name="T5" fmla="*/ 201 h 263"/>
                <a:gd name="T6" fmla="*/ 387 w 420"/>
                <a:gd name="T7" fmla="*/ 213 h 263"/>
                <a:gd name="T8" fmla="*/ 395 w 420"/>
                <a:gd name="T9" fmla="*/ 214 h 263"/>
                <a:gd name="T10" fmla="*/ 400 w 420"/>
                <a:gd name="T11" fmla="*/ 196 h 263"/>
                <a:gd name="T12" fmla="*/ 365 w 420"/>
                <a:gd name="T13" fmla="*/ 223 h 263"/>
                <a:gd name="T14" fmla="*/ 334 w 420"/>
                <a:gd name="T15" fmla="*/ 252 h 263"/>
                <a:gd name="T16" fmla="*/ 357 w 420"/>
                <a:gd name="T17" fmla="*/ 256 h 263"/>
                <a:gd name="T18" fmla="*/ 381 w 420"/>
                <a:gd name="T19" fmla="*/ 223 h 263"/>
                <a:gd name="T20" fmla="*/ 209 w 420"/>
                <a:gd name="T21" fmla="*/ 224 h 263"/>
                <a:gd name="T22" fmla="*/ 205 w 420"/>
                <a:gd name="T23" fmla="*/ 234 h 263"/>
                <a:gd name="T24" fmla="*/ 223 w 420"/>
                <a:gd name="T25" fmla="*/ 219 h 263"/>
                <a:gd name="T26" fmla="*/ 237 w 420"/>
                <a:gd name="T27" fmla="*/ 74 h 263"/>
                <a:gd name="T28" fmla="*/ 207 w 420"/>
                <a:gd name="T29" fmla="*/ 40 h 263"/>
                <a:gd name="T30" fmla="*/ 185 w 420"/>
                <a:gd name="T31" fmla="*/ 1 h 263"/>
                <a:gd name="T32" fmla="*/ 178 w 420"/>
                <a:gd name="T33" fmla="*/ 49 h 263"/>
                <a:gd name="T34" fmla="*/ 148 w 420"/>
                <a:gd name="T35" fmla="*/ 34 h 263"/>
                <a:gd name="T36" fmla="*/ 133 w 420"/>
                <a:gd name="T37" fmla="*/ 13 h 263"/>
                <a:gd name="T38" fmla="*/ 123 w 420"/>
                <a:gd name="T39" fmla="*/ 19 h 263"/>
                <a:gd name="T40" fmla="*/ 111 w 420"/>
                <a:gd name="T41" fmla="*/ 18 h 263"/>
                <a:gd name="T42" fmla="*/ 95 w 420"/>
                <a:gd name="T43" fmla="*/ 26 h 263"/>
                <a:gd name="T44" fmla="*/ 77 w 420"/>
                <a:gd name="T45" fmla="*/ 40 h 263"/>
                <a:gd name="T46" fmla="*/ 59 w 420"/>
                <a:gd name="T47" fmla="*/ 64 h 263"/>
                <a:gd name="T48" fmla="*/ 31 w 420"/>
                <a:gd name="T49" fmla="*/ 70 h 263"/>
                <a:gd name="T50" fmla="*/ 2 w 420"/>
                <a:gd name="T51" fmla="*/ 101 h 263"/>
                <a:gd name="T52" fmla="*/ 15 w 420"/>
                <a:gd name="T53" fmla="*/ 130 h 263"/>
                <a:gd name="T54" fmla="*/ 27 w 420"/>
                <a:gd name="T55" fmla="*/ 154 h 263"/>
                <a:gd name="T56" fmla="*/ 24 w 420"/>
                <a:gd name="T57" fmla="*/ 181 h 263"/>
                <a:gd name="T58" fmla="*/ 53 w 420"/>
                <a:gd name="T59" fmla="*/ 173 h 263"/>
                <a:gd name="T60" fmla="*/ 79 w 420"/>
                <a:gd name="T61" fmla="*/ 158 h 263"/>
                <a:gd name="T62" fmla="*/ 111 w 420"/>
                <a:gd name="T63" fmla="*/ 150 h 263"/>
                <a:gd name="T64" fmla="*/ 138 w 420"/>
                <a:gd name="T65" fmla="*/ 161 h 263"/>
                <a:gd name="T66" fmla="*/ 146 w 420"/>
                <a:gd name="T67" fmla="*/ 173 h 263"/>
                <a:gd name="T68" fmla="*/ 158 w 420"/>
                <a:gd name="T69" fmla="*/ 175 h 263"/>
                <a:gd name="T70" fmla="*/ 165 w 420"/>
                <a:gd name="T71" fmla="*/ 179 h 263"/>
                <a:gd name="T72" fmla="*/ 174 w 420"/>
                <a:gd name="T73" fmla="*/ 198 h 263"/>
                <a:gd name="T74" fmla="*/ 195 w 420"/>
                <a:gd name="T75" fmla="*/ 203 h 263"/>
                <a:gd name="T76" fmla="*/ 222 w 420"/>
                <a:gd name="T77" fmla="*/ 200 h 263"/>
                <a:gd name="T78" fmla="*/ 239 w 420"/>
                <a:gd name="T79" fmla="*/ 173 h 263"/>
                <a:gd name="T80" fmla="*/ 244 w 420"/>
                <a:gd name="T81" fmla="*/ 101 h 263"/>
                <a:gd name="T82" fmla="*/ 415 w 420"/>
                <a:gd name="T83" fmla="*/ 41 h 263"/>
                <a:gd name="T84" fmla="*/ 415 w 420"/>
                <a:gd name="T85" fmla="*/ 41 h 263"/>
                <a:gd name="T86" fmla="*/ 325 w 420"/>
                <a:gd name="T87" fmla="*/ 75 h 263"/>
                <a:gd name="T88" fmla="*/ 335 w 420"/>
                <a:gd name="T89" fmla="*/ 8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263">
                  <a:moveTo>
                    <a:pt x="400" y="196"/>
                  </a:moveTo>
                  <a:cubicBezTo>
                    <a:pt x="398" y="196"/>
                    <a:pt x="397" y="199"/>
                    <a:pt x="393" y="196"/>
                  </a:cubicBezTo>
                  <a:cubicBezTo>
                    <a:pt x="388" y="193"/>
                    <a:pt x="389" y="194"/>
                    <a:pt x="386" y="188"/>
                  </a:cubicBezTo>
                  <a:cubicBezTo>
                    <a:pt x="383" y="182"/>
                    <a:pt x="382" y="174"/>
                    <a:pt x="377" y="177"/>
                  </a:cubicBezTo>
                  <a:cubicBezTo>
                    <a:pt x="375" y="178"/>
                    <a:pt x="377" y="185"/>
                    <a:pt x="379" y="187"/>
                  </a:cubicBezTo>
                  <a:cubicBezTo>
                    <a:pt x="381" y="190"/>
                    <a:pt x="382" y="198"/>
                    <a:pt x="382" y="201"/>
                  </a:cubicBezTo>
                  <a:cubicBezTo>
                    <a:pt x="381" y="203"/>
                    <a:pt x="373" y="206"/>
                    <a:pt x="377" y="209"/>
                  </a:cubicBezTo>
                  <a:cubicBezTo>
                    <a:pt x="381" y="213"/>
                    <a:pt x="389" y="209"/>
                    <a:pt x="387" y="213"/>
                  </a:cubicBezTo>
                  <a:cubicBezTo>
                    <a:pt x="386" y="217"/>
                    <a:pt x="382" y="222"/>
                    <a:pt x="387" y="223"/>
                  </a:cubicBezTo>
                  <a:cubicBezTo>
                    <a:pt x="392" y="224"/>
                    <a:pt x="393" y="219"/>
                    <a:pt x="395" y="214"/>
                  </a:cubicBezTo>
                  <a:cubicBezTo>
                    <a:pt x="397" y="210"/>
                    <a:pt x="399" y="206"/>
                    <a:pt x="402" y="204"/>
                  </a:cubicBezTo>
                  <a:cubicBezTo>
                    <a:pt x="406" y="201"/>
                    <a:pt x="402" y="196"/>
                    <a:pt x="400" y="196"/>
                  </a:cubicBezTo>
                  <a:close/>
                  <a:moveTo>
                    <a:pt x="373" y="216"/>
                  </a:moveTo>
                  <a:cubicBezTo>
                    <a:pt x="372" y="219"/>
                    <a:pt x="368" y="220"/>
                    <a:pt x="365" y="223"/>
                  </a:cubicBezTo>
                  <a:cubicBezTo>
                    <a:pt x="362" y="226"/>
                    <a:pt x="365" y="227"/>
                    <a:pt x="356" y="233"/>
                  </a:cubicBezTo>
                  <a:cubicBezTo>
                    <a:pt x="347" y="239"/>
                    <a:pt x="336" y="246"/>
                    <a:pt x="334" y="252"/>
                  </a:cubicBezTo>
                  <a:cubicBezTo>
                    <a:pt x="332" y="257"/>
                    <a:pt x="336" y="260"/>
                    <a:pt x="345" y="261"/>
                  </a:cubicBezTo>
                  <a:cubicBezTo>
                    <a:pt x="353" y="261"/>
                    <a:pt x="351" y="263"/>
                    <a:pt x="357" y="256"/>
                  </a:cubicBezTo>
                  <a:cubicBezTo>
                    <a:pt x="362" y="248"/>
                    <a:pt x="367" y="244"/>
                    <a:pt x="374" y="238"/>
                  </a:cubicBezTo>
                  <a:cubicBezTo>
                    <a:pt x="381" y="232"/>
                    <a:pt x="381" y="223"/>
                    <a:pt x="381" y="223"/>
                  </a:cubicBezTo>
                  <a:cubicBezTo>
                    <a:pt x="381" y="223"/>
                    <a:pt x="374" y="214"/>
                    <a:pt x="373" y="216"/>
                  </a:cubicBezTo>
                  <a:close/>
                  <a:moveTo>
                    <a:pt x="209" y="224"/>
                  </a:moveTo>
                  <a:cubicBezTo>
                    <a:pt x="206" y="223"/>
                    <a:pt x="201" y="221"/>
                    <a:pt x="201" y="221"/>
                  </a:cubicBezTo>
                  <a:cubicBezTo>
                    <a:pt x="195" y="228"/>
                    <a:pt x="206" y="228"/>
                    <a:pt x="205" y="234"/>
                  </a:cubicBezTo>
                  <a:cubicBezTo>
                    <a:pt x="203" y="241"/>
                    <a:pt x="212" y="239"/>
                    <a:pt x="215" y="238"/>
                  </a:cubicBezTo>
                  <a:cubicBezTo>
                    <a:pt x="218" y="236"/>
                    <a:pt x="224" y="222"/>
                    <a:pt x="223" y="219"/>
                  </a:cubicBezTo>
                  <a:cubicBezTo>
                    <a:pt x="222" y="215"/>
                    <a:pt x="211" y="225"/>
                    <a:pt x="209" y="224"/>
                  </a:cubicBezTo>
                  <a:close/>
                  <a:moveTo>
                    <a:pt x="237" y="74"/>
                  </a:moveTo>
                  <a:cubicBezTo>
                    <a:pt x="237" y="69"/>
                    <a:pt x="219" y="69"/>
                    <a:pt x="214" y="65"/>
                  </a:cubicBezTo>
                  <a:cubicBezTo>
                    <a:pt x="210" y="61"/>
                    <a:pt x="209" y="48"/>
                    <a:pt x="207" y="40"/>
                  </a:cubicBezTo>
                  <a:cubicBezTo>
                    <a:pt x="204" y="33"/>
                    <a:pt x="199" y="28"/>
                    <a:pt x="194" y="22"/>
                  </a:cubicBezTo>
                  <a:cubicBezTo>
                    <a:pt x="189" y="15"/>
                    <a:pt x="186" y="0"/>
                    <a:pt x="185" y="1"/>
                  </a:cubicBezTo>
                  <a:cubicBezTo>
                    <a:pt x="183" y="2"/>
                    <a:pt x="178" y="20"/>
                    <a:pt x="182" y="25"/>
                  </a:cubicBezTo>
                  <a:cubicBezTo>
                    <a:pt x="186" y="31"/>
                    <a:pt x="180" y="42"/>
                    <a:pt x="178" y="49"/>
                  </a:cubicBezTo>
                  <a:cubicBezTo>
                    <a:pt x="175" y="56"/>
                    <a:pt x="169" y="48"/>
                    <a:pt x="164" y="44"/>
                  </a:cubicBezTo>
                  <a:cubicBezTo>
                    <a:pt x="159" y="40"/>
                    <a:pt x="152" y="38"/>
                    <a:pt x="148" y="34"/>
                  </a:cubicBezTo>
                  <a:cubicBezTo>
                    <a:pt x="144" y="29"/>
                    <a:pt x="154" y="18"/>
                    <a:pt x="152" y="14"/>
                  </a:cubicBezTo>
                  <a:cubicBezTo>
                    <a:pt x="149" y="9"/>
                    <a:pt x="135" y="13"/>
                    <a:pt x="133" y="13"/>
                  </a:cubicBezTo>
                  <a:cubicBezTo>
                    <a:pt x="132" y="13"/>
                    <a:pt x="129" y="7"/>
                    <a:pt x="126" y="7"/>
                  </a:cubicBezTo>
                  <a:cubicBezTo>
                    <a:pt x="123" y="7"/>
                    <a:pt x="123" y="19"/>
                    <a:pt x="123" y="19"/>
                  </a:cubicBezTo>
                  <a:cubicBezTo>
                    <a:pt x="123" y="19"/>
                    <a:pt x="120" y="15"/>
                    <a:pt x="115" y="9"/>
                  </a:cubicBezTo>
                  <a:cubicBezTo>
                    <a:pt x="111" y="4"/>
                    <a:pt x="116" y="13"/>
                    <a:pt x="111" y="18"/>
                  </a:cubicBezTo>
                  <a:cubicBezTo>
                    <a:pt x="107" y="24"/>
                    <a:pt x="108" y="22"/>
                    <a:pt x="106" y="28"/>
                  </a:cubicBezTo>
                  <a:cubicBezTo>
                    <a:pt x="104" y="34"/>
                    <a:pt x="99" y="32"/>
                    <a:pt x="95" y="26"/>
                  </a:cubicBezTo>
                  <a:cubicBezTo>
                    <a:pt x="90" y="20"/>
                    <a:pt x="87" y="24"/>
                    <a:pt x="84" y="26"/>
                  </a:cubicBezTo>
                  <a:cubicBezTo>
                    <a:pt x="81" y="28"/>
                    <a:pt x="79" y="38"/>
                    <a:pt x="77" y="40"/>
                  </a:cubicBezTo>
                  <a:cubicBezTo>
                    <a:pt x="76" y="43"/>
                    <a:pt x="61" y="36"/>
                    <a:pt x="58" y="39"/>
                  </a:cubicBezTo>
                  <a:cubicBezTo>
                    <a:pt x="56" y="42"/>
                    <a:pt x="59" y="62"/>
                    <a:pt x="59" y="64"/>
                  </a:cubicBezTo>
                  <a:cubicBezTo>
                    <a:pt x="59" y="67"/>
                    <a:pt x="48" y="65"/>
                    <a:pt x="44" y="69"/>
                  </a:cubicBezTo>
                  <a:cubicBezTo>
                    <a:pt x="40" y="72"/>
                    <a:pt x="35" y="70"/>
                    <a:pt x="31" y="70"/>
                  </a:cubicBezTo>
                  <a:cubicBezTo>
                    <a:pt x="28" y="70"/>
                    <a:pt x="15" y="81"/>
                    <a:pt x="11" y="84"/>
                  </a:cubicBezTo>
                  <a:cubicBezTo>
                    <a:pt x="7" y="87"/>
                    <a:pt x="0" y="98"/>
                    <a:pt x="2" y="101"/>
                  </a:cubicBezTo>
                  <a:cubicBezTo>
                    <a:pt x="4" y="104"/>
                    <a:pt x="15" y="112"/>
                    <a:pt x="13" y="113"/>
                  </a:cubicBezTo>
                  <a:cubicBezTo>
                    <a:pt x="10" y="114"/>
                    <a:pt x="8" y="123"/>
                    <a:pt x="15" y="130"/>
                  </a:cubicBezTo>
                  <a:cubicBezTo>
                    <a:pt x="21" y="137"/>
                    <a:pt x="19" y="139"/>
                    <a:pt x="19" y="143"/>
                  </a:cubicBezTo>
                  <a:cubicBezTo>
                    <a:pt x="20" y="147"/>
                    <a:pt x="22" y="148"/>
                    <a:pt x="27" y="154"/>
                  </a:cubicBezTo>
                  <a:cubicBezTo>
                    <a:pt x="31" y="160"/>
                    <a:pt x="19" y="165"/>
                    <a:pt x="18" y="169"/>
                  </a:cubicBezTo>
                  <a:cubicBezTo>
                    <a:pt x="16" y="172"/>
                    <a:pt x="21" y="178"/>
                    <a:pt x="24" y="181"/>
                  </a:cubicBezTo>
                  <a:cubicBezTo>
                    <a:pt x="28" y="184"/>
                    <a:pt x="35" y="182"/>
                    <a:pt x="40" y="180"/>
                  </a:cubicBezTo>
                  <a:cubicBezTo>
                    <a:pt x="45" y="178"/>
                    <a:pt x="50" y="173"/>
                    <a:pt x="53" y="173"/>
                  </a:cubicBezTo>
                  <a:cubicBezTo>
                    <a:pt x="56" y="172"/>
                    <a:pt x="74" y="178"/>
                    <a:pt x="74" y="178"/>
                  </a:cubicBezTo>
                  <a:cubicBezTo>
                    <a:pt x="74" y="178"/>
                    <a:pt x="76" y="162"/>
                    <a:pt x="79" y="158"/>
                  </a:cubicBezTo>
                  <a:cubicBezTo>
                    <a:pt x="83" y="153"/>
                    <a:pt x="94" y="157"/>
                    <a:pt x="94" y="157"/>
                  </a:cubicBezTo>
                  <a:cubicBezTo>
                    <a:pt x="94" y="157"/>
                    <a:pt x="99" y="153"/>
                    <a:pt x="111" y="150"/>
                  </a:cubicBezTo>
                  <a:cubicBezTo>
                    <a:pt x="124" y="147"/>
                    <a:pt x="118" y="153"/>
                    <a:pt x="123" y="155"/>
                  </a:cubicBezTo>
                  <a:cubicBezTo>
                    <a:pt x="128" y="157"/>
                    <a:pt x="134" y="158"/>
                    <a:pt x="138" y="161"/>
                  </a:cubicBezTo>
                  <a:cubicBezTo>
                    <a:pt x="141" y="164"/>
                    <a:pt x="138" y="172"/>
                    <a:pt x="137" y="175"/>
                  </a:cubicBezTo>
                  <a:cubicBezTo>
                    <a:pt x="137" y="178"/>
                    <a:pt x="146" y="176"/>
                    <a:pt x="146" y="173"/>
                  </a:cubicBezTo>
                  <a:cubicBezTo>
                    <a:pt x="147" y="170"/>
                    <a:pt x="149" y="167"/>
                    <a:pt x="155" y="164"/>
                  </a:cubicBezTo>
                  <a:cubicBezTo>
                    <a:pt x="160" y="160"/>
                    <a:pt x="156" y="169"/>
                    <a:pt x="158" y="175"/>
                  </a:cubicBezTo>
                  <a:cubicBezTo>
                    <a:pt x="160" y="180"/>
                    <a:pt x="163" y="167"/>
                    <a:pt x="163" y="173"/>
                  </a:cubicBezTo>
                  <a:cubicBezTo>
                    <a:pt x="163" y="175"/>
                    <a:pt x="164" y="177"/>
                    <a:pt x="165" y="179"/>
                  </a:cubicBezTo>
                  <a:cubicBezTo>
                    <a:pt x="165" y="181"/>
                    <a:pt x="172" y="181"/>
                    <a:pt x="172" y="187"/>
                  </a:cubicBezTo>
                  <a:cubicBezTo>
                    <a:pt x="172" y="194"/>
                    <a:pt x="172" y="197"/>
                    <a:pt x="174" y="198"/>
                  </a:cubicBezTo>
                  <a:cubicBezTo>
                    <a:pt x="175" y="200"/>
                    <a:pt x="184" y="198"/>
                    <a:pt x="187" y="206"/>
                  </a:cubicBezTo>
                  <a:cubicBezTo>
                    <a:pt x="191" y="213"/>
                    <a:pt x="193" y="206"/>
                    <a:pt x="195" y="203"/>
                  </a:cubicBezTo>
                  <a:cubicBezTo>
                    <a:pt x="197" y="200"/>
                    <a:pt x="205" y="205"/>
                    <a:pt x="207" y="207"/>
                  </a:cubicBezTo>
                  <a:cubicBezTo>
                    <a:pt x="209" y="209"/>
                    <a:pt x="214" y="202"/>
                    <a:pt x="222" y="200"/>
                  </a:cubicBezTo>
                  <a:cubicBezTo>
                    <a:pt x="230" y="197"/>
                    <a:pt x="229" y="198"/>
                    <a:pt x="231" y="194"/>
                  </a:cubicBezTo>
                  <a:cubicBezTo>
                    <a:pt x="233" y="191"/>
                    <a:pt x="235" y="181"/>
                    <a:pt x="239" y="173"/>
                  </a:cubicBezTo>
                  <a:cubicBezTo>
                    <a:pt x="244" y="166"/>
                    <a:pt x="261" y="155"/>
                    <a:pt x="261" y="145"/>
                  </a:cubicBezTo>
                  <a:cubicBezTo>
                    <a:pt x="261" y="136"/>
                    <a:pt x="250" y="111"/>
                    <a:pt x="244" y="101"/>
                  </a:cubicBezTo>
                  <a:cubicBezTo>
                    <a:pt x="238" y="90"/>
                    <a:pt x="236" y="80"/>
                    <a:pt x="237" y="74"/>
                  </a:cubicBezTo>
                  <a:close/>
                  <a:moveTo>
                    <a:pt x="415" y="41"/>
                  </a:moveTo>
                  <a:cubicBezTo>
                    <a:pt x="410" y="39"/>
                    <a:pt x="401" y="54"/>
                    <a:pt x="401" y="54"/>
                  </a:cubicBezTo>
                  <a:cubicBezTo>
                    <a:pt x="408" y="57"/>
                    <a:pt x="420" y="43"/>
                    <a:pt x="415" y="41"/>
                  </a:cubicBezTo>
                  <a:close/>
                  <a:moveTo>
                    <a:pt x="335" y="84"/>
                  </a:moveTo>
                  <a:cubicBezTo>
                    <a:pt x="336" y="81"/>
                    <a:pt x="334" y="77"/>
                    <a:pt x="325" y="75"/>
                  </a:cubicBezTo>
                  <a:cubicBezTo>
                    <a:pt x="316" y="72"/>
                    <a:pt x="322" y="76"/>
                    <a:pt x="325" y="82"/>
                  </a:cubicBezTo>
                  <a:cubicBezTo>
                    <a:pt x="328" y="87"/>
                    <a:pt x="334" y="90"/>
                    <a:pt x="3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8C0A24C8-26F0-4B60-AD54-A78ACA8458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5525" y="4503738"/>
              <a:ext cx="4191000" cy="2332038"/>
            </a:xfrm>
            <a:custGeom>
              <a:avLst/>
              <a:gdLst>
                <a:gd name="T0" fmla="*/ 84 w 1162"/>
                <a:gd name="T1" fmla="*/ 282 h 647"/>
                <a:gd name="T2" fmla="*/ 29 w 1162"/>
                <a:gd name="T3" fmla="*/ 183 h 647"/>
                <a:gd name="T4" fmla="*/ 41 w 1162"/>
                <a:gd name="T5" fmla="*/ 200 h 647"/>
                <a:gd name="T6" fmla="*/ 23 w 1162"/>
                <a:gd name="T7" fmla="*/ 150 h 647"/>
                <a:gd name="T8" fmla="*/ 1094 w 1162"/>
                <a:gd name="T9" fmla="*/ 68 h 647"/>
                <a:gd name="T10" fmla="*/ 931 w 1162"/>
                <a:gd name="T11" fmla="*/ 38 h 647"/>
                <a:gd name="T12" fmla="*/ 909 w 1162"/>
                <a:gd name="T13" fmla="*/ 49 h 647"/>
                <a:gd name="T14" fmla="*/ 785 w 1162"/>
                <a:gd name="T15" fmla="*/ 38 h 647"/>
                <a:gd name="T16" fmla="*/ 680 w 1162"/>
                <a:gd name="T17" fmla="*/ 14 h 647"/>
                <a:gd name="T18" fmla="*/ 573 w 1162"/>
                <a:gd name="T19" fmla="*/ 53 h 647"/>
                <a:gd name="T20" fmla="*/ 516 w 1162"/>
                <a:gd name="T21" fmla="*/ 64 h 647"/>
                <a:gd name="T22" fmla="*/ 509 w 1162"/>
                <a:gd name="T23" fmla="*/ 72 h 647"/>
                <a:gd name="T24" fmla="*/ 447 w 1162"/>
                <a:gd name="T25" fmla="*/ 66 h 647"/>
                <a:gd name="T26" fmla="*/ 332 w 1162"/>
                <a:gd name="T27" fmla="*/ 73 h 647"/>
                <a:gd name="T28" fmla="*/ 276 w 1162"/>
                <a:gd name="T29" fmla="*/ 92 h 647"/>
                <a:gd name="T30" fmla="*/ 118 w 1162"/>
                <a:gd name="T31" fmla="*/ 102 h 647"/>
                <a:gd name="T32" fmla="*/ 176 w 1162"/>
                <a:gd name="T33" fmla="*/ 141 h 647"/>
                <a:gd name="T34" fmla="*/ 236 w 1162"/>
                <a:gd name="T35" fmla="*/ 131 h 647"/>
                <a:gd name="T36" fmla="*/ 145 w 1162"/>
                <a:gd name="T37" fmla="*/ 176 h 647"/>
                <a:gd name="T38" fmla="*/ 75 w 1162"/>
                <a:gd name="T39" fmla="*/ 200 h 647"/>
                <a:gd name="T40" fmla="*/ 6 w 1162"/>
                <a:gd name="T41" fmla="*/ 283 h 647"/>
                <a:gd name="T42" fmla="*/ 83 w 1162"/>
                <a:gd name="T43" fmla="*/ 268 h 647"/>
                <a:gd name="T44" fmla="*/ 177 w 1162"/>
                <a:gd name="T45" fmla="*/ 277 h 647"/>
                <a:gd name="T46" fmla="*/ 213 w 1162"/>
                <a:gd name="T47" fmla="*/ 294 h 647"/>
                <a:gd name="T48" fmla="*/ 275 w 1162"/>
                <a:gd name="T49" fmla="*/ 335 h 647"/>
                <a:gd name="T50" fmla="*/ 331 w 1162"/>
                <a:gd name="T51" fmla="*/ 476 h 647"/>
                <a:gd name="T52" fmla="*/ 384 w 1162"/>
                <a:gd name="T53" fmla="*/ 398 h 647"/>
                <a:gd name="T54" fmla="*/ 461 w 1162"/>
                <a:gd name="T55" fmla="*/ 387 h 647"/>
                <a:gd name="T56" fmla="*/ 536 w 1162"/>
                <a:gd name="T57" fmla="*/ 516 h 647"/>
                <a:gd name="T58" fmla="*/ 639 w 1162"/>
                <a:gd name="T59" fmla="*/ 444 h 647"/>
                <a:gd name="T60" fmla="*/ 713 w 1162"/>
                <a:gd name="T61" fmla="*/ 499 h 647"/>
                <a:gd name="T62" fmla="*/ 740 w 1162"/>
                <a:gd name="T63" fmla="*/ 429 h 647"/>
                <a:gd name="T64" fmla="*/ 793 w 1162"/>
                <a:gd name="T65" fmla="*/ 299 h 647"/>
                <a:gd name="T66" fmla="*/ 835 w 1162"/>
                <a:gd name="T67" fmla="*/ 307 h 647"/>
                <a:gd name="T68" fmla="*/ 921 w 1162"/>
                <a:gd name="T69" fmla="*/ 209 h 647"/>
                <a:gd name="T70" fmla="*/ 934 w 1162"/>
                <a:gd name="T71" fmla="*/ 181 h 647"/>
                <a:gd name="T72" fmla="*/ 997 w 1162"/>
                <a:gd name="T73" fmla="*/ 146 h 647"/>
                <a:gd name="T74" fmla="*/ 1014 w 1162"/>
                <a:gd name="T75" fmla="*/ 196 h 647"/>
                <a:gd name="T76" fmla="*/ 1152 w 1162"/>
                <a:gd name="T77" fmla="*/ 118 h 647"/>
                <a:gd name="T78" fmla="*/ 244 w 1162"/>
                <a:gd name="T79" fmla="*/ 271 h 647"/>
                <a:gd name="T80" fmla="*/ 289 w 1162"/>
                <a:gd name="T81" fmla="*/ 237 h 647"/>
                <a:gd name="T82" fmla="*/ 388 w 1162"/>
                <a:gd name="T83" fmla="*/ 278 h 647"/>
                <a:gd name="T84" fmla="*/ 378 w 1162"/>
                <a:gd name="T85" fmla="*/ 224 h 647"/>
                <a:gd name="T86" fmla="*/ 434 w 1162"/>
                <a:gd name="T87" fmla="*/ 28 h 647"/>
                <a:gd name="T88" fmla="*/ 945 w 1162"/>
                <a:gd name="T89" fmla="*/ 260 h 647"/>
                <a:gd name="T90" fmla="*/ 885 w 1162"/>
                <a:gd name="T91" fmla="*/ 321 h 647"/>
                <a:gd name="T92" fmla="*/ 889 w 1162"/>
                <a:gd name="T93" fmla="*/ 310 h 647"/>
                <a:gd name="T94" fmla="*/ 709 w 1162"/>
                <a:gd name="T95" fmla="*/ 581 h 647"/>
                <a:gd name="T96" fmla="*/ 711 w 1162"/>
                <a:gd name="T97" fmla="*/ 589 h 647"/>
                <a:gd name="T98" fmla="*/ 672 w 1162"/>
                <a:gd name="T99" fmla="*/ 520 h 647"/>
                <a:gd name="T100" fmla="*/ 733 w 1162"/>
                <a:gd name="T101" fmla="*/ 623 h 647"/>
                <a:gd name="T102" fmla="*/ 836 w 1162"/>
                <a:gd name="T103" fmla="*/ 631 h 647"/>
                <a:gd name="T104" fmla="*/ 816 w 1162"/>
                <a:gd name="T105" fmla="*/ 606 h 647"/>
                <a:gd name="T106" fmla="*/ 842 w 1162"/>
                <a:gd name="T107" fmla="*/ 573 h 647"/>
                <a:gd name="T108" fmla="*/ 729 w 1162"/>
                <a:gd name="T109" fmla="*/ 552 h 647"/>
                <a:gd name="T110" fmla="*/ 792 w 1162"/>
                <a:gd name="T111" fmla="*/ 487 h 647"/>
                <a:gd name="T112" fmla="*/ 808 w 1162"/>
                <a:gd name="T113" fmla="*/ 497 h 647"/>
                <a:gd name="T114" fmla="*/ 804 w 1162"/>
                <a:gd name="T115" fmla="*/ 513 h 647"/>
                <a:gd name="T116" fmla="*/ 885 w 1162"/>
                <a:gd name="T117" fmla="*/ 575 h 647"/>
                <a:gd name="T118" fmla="*/ 905 w 1162"/>
                <a:gd name="T119" fmla="*/ 626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2" h="647">
                  <a:moveTo>
                    <a:pt x="553" y="499"/>
                  </a:moveTo>
                  <a:cubicBezTo>
                    <a:pt x="550" y="501"/>
                    <a:pt x="546" y="530"/>
                    <a:pt x="553" y="532"/>
                  </a:cubicBezTo>
                  <a:cubicBezTo>
                    <a:pt x="559" y="535"/>
                    <a:pt x="563" y="514"/>
                    <a:pt x="561" y="511"/>
                  </a:cubicBezTo>
                  <a:cubicBezTo>
                    <a:pt x="559" y="508"/>
                    <a:pt x="558" y="496"/>
                    <a:pt x="553" y="499"/>
                  </a:cubicBezTo>
                  <a:close/>
                  <a:moveTo>
                    <a:pt x="118" y="271"/>
                  </a:moveTo>
                  <a:cubicBezTo>
                    <a:pt x="113" y="271"/>
                    <a:pt x="111" y="280"/>
                    <a:pt x="114" y="283"/>
                  </a:cubicBezTo>
                  <a:cubicBezTo>
                    <a:pt x="117" y="286"/>
                    <a:pt x="120" y="286"/>
                    <a:pt x="123" y="282"/>
                  </a:cubicBezTo>
                  <a:cubicBezTo>
                    <a:pt x="126" y="277"/>
                    <a:pt x="121" y="271"/>
                    <a:pt x="118" y="271"/>
                  </a:cubicBezTo>
                  <a:close/>
                  <a:moveTo>
                    <a:pt x="79" y="281"/>
                  </a:moveTo>
                  <a:cubicBezTo>
                    <a:pt x="78" y="283"/>
                    <a:pt x="83" y="284"/>
                    <a:pt x="84" y="282"/>
                  </a:cubicBezTo>
                  <a:cubicBezTo>
                    <a:pt x="85" y="279"/>
                    <a:pt x="83" y="274"/>
                    <a:pt x="79" y="281"/>
                  </a:cubicBezTo>
                  <a:close/>
                  <a:moveTo>
                    <a:pt x="151" y="291"/>
                  </a:moveTo>
                  <a:cubicBezTo>
                    <a:pt x="150" y="291"/>
                    <a:pt x="143" y="290"/>
                    <a:pt x="141" y="291"/>
                  </a:cubicBezTo>
                  <a:cubicBezTo>
                    <a:pt x="139" y="293"/>
                    <a:pt x="144" y="297"/>
                    <a:pt x="146" y="298"/>
                  </a:cubicBezTo>
                  <a:cubicBezTo>
                    <a:pt x="149" y="299"/>
                    <a:pt x="151" y="303"/>
                    <a:pt x="153" y="304"/>
                  </a:cubicBezTo>
                  <a:cubicBezTo>
                    <a:pt x="155" y="304"/>
                    <a:pt x="162" y="304"/>
                    <a:pt x="160" y="297"/>
                  </a:cubicBezTo>
                  <a:cubicBezTo>
                    <a:pt x="158" y="291"/>
                    <a:pt x="153" y="291"/>
                    <a:pt x="151" y="291"/>
                  </a:cubicBezTo>
                  <a:close/>
                  <a:moveTo>
                    <a:pt x="8" y="199"/>
                  </a:moveTo>
                  <a:cubicBezTo>
                    <a:pt x="12" y="200"/>
                    <a:pt x="17" y="196"/>
                    <a:pt x="20" y="194"/>
                  </a:cubicBezTo>
                  <a:cubicBezTo>
                    <a:pt x="24" y="193"/>
                    <a:pt x="29" y="189"/>
                    <a:pt x="29" y="183"/>
                  </a:cubicBezTo>
                  <a:cubicBezTo>
                    <a:pt x="29" y="178"/>
                    <a:pt x="28" y="173"/>
                    <a:pt x="26" y="171"/>
                  </a:cubicBezTo>
                  <a:cubicBezTo>
                    <a:pt x="24" y="168"/>
                    <a:pt x="20" y="168"/>
                    <a:pt x="17" y="168"/>
                  </a:cubicBezTo>
                  <a:cubicBezTo>
                    <a:pt x="12" y="169"/>
                    <a:pt x="12" y="175"/>
                    <a:pt x="9" y="175"/>
                  </a:cubicBezTo>
                  <a:cubicBezTo>
                    <a:pt x="6" y="175"/>
                    <a:pt x="2" y="176"/>
                    <a:pt x="3" y="180"/>
                  </a:cubicBezTo>
                  <a:cubicBezTo>
                    <a:pt x="4" y="185"/>
                    <a:pt x="6" y="188"/>
                    <a:pt x="3" y="189"/>
                  </a:cubicBezTo>
                  <a:cubicBezTo>
                    <a:pt x="0" y="191"/>
                    <a:pt x="4" y="199"/>
                    <a:pt x="8" y="199"/>
                  </a:cubicBezTo>
                  <a:close/>
                  <a:moveTo>
                    <a:pt x="33" y="173"/>
                  </a:moveTo>
                  <a:cubicBezTo>
                    <a:pt x="38" y="175"/>
                    <a:pt x="49" y="178"/>
                    <a:pt x="45" y="180"/>
                  </a:cubicBezTo>
                  <a:cubicBezTo>
                    <a:pt x="41" y="183"/>
                    <a:pt x="29" y="195"/>
                    <a:pt x="28" y="198"/>
                  </a:cubicBezTo>
                  <a:cubicBezTo>
                    <a:pt x="27" y="202"/>
                    <a:pt x="41" y="200"/>
                    <a:pt x="41" y="200"/>
                  </a:cubicBezTo>
                  <a:cubicBezTo>
                    <a:pt x="41" y="200"/>
                    <a:pt x="38" y="205"/>
                    <a:pt x="41" y="206"/>
                  </a:cubicBezTo>
                  <a:cubicBezTo>
                    <a:pt x="43" y="207"/>
                    <a:pt x="45" y="202"/>
                    <a:pt x="49" y="202"/>
                  </a:cubicBezTo>
                  <a:cubicBezTo>
                    <a:pt x="53" y="202"/>
                    <a:pt x="62" y="205"/>
                    <a:pt x="66" y="205"/>
                  </a:cubicBezTo>
                  <a:cubicBezTo>
                    <a:pt x="70" y="205"/>
                    <a:pt x="77" y="198"/>
                    <a:pt x="76" y="194"/>
                  </a:cubicBezTo>
                  <a:cubicBezTo>
                    <a:pt x="75" y="189"/>
                    <a:pt x="70" y="183"/>
                    <a:pt x="66" y="180"/>
                  </a:cubicBezTo>
                  <a:cubicBezTo>
                    <a:pt x="61" y="178"/>
                    <a:pt x="56" y="167"/>
                    <a:pt x="53" y="164"/>
                  </a:cubicBezTo>
                  <a:cubicBezTo>
                    <a:pt x="50" y="162"/>
                    <a:pt x="64" y="154"/>
                    <a:pt x="61" y="150"/>
                  </a:cubicBezTo>
                  <a:cubicBezTo>
                    <a:pt x="57" y="145"/>
                    <a:pt x="46" y="148"/>
                    <a:pt x="42" y="145"/>
                  </a:cubicBezTo>
                  <a:cubicBezTo>
                    <a:pt x="38" y="142"/>
                    <a:pt x="34" y="146"/>
                    <a:pt x="32" y="149"/>
                  </a:cubicBezTo>
                  <a:cubicBezTo>
                    <a:pt x="29" y="153"/>
                    <a:pt x="26" y="149"/>
                    <a:pt x="23" y="150"/>
                  </a:cubicBezTo>
                  <a:cubicBezTo>
                    <a:pt x="19" y="151"/>
                    <a:pt x="20" y="158"/>
                    <a:pt x="22" y="161"/>
                  </a:cubicBezTo>
                  <a:cubicBezTo>
                    <a:pt x="24" y="164"/>
                    <a:pt x="28" y="171"/>
                    <a:pt x="33" y="173"/>
                  </a:cubicBezTo>
                  <a:close/>
                  <a:moveTo>
                    <a:pt x="1150" y="103"/>
                  </a:moveTo>
                  <a:cubicBezTo>
                    <a:pt x="1154" y="102"/>
                    <a:pt x="1158" y="101"/>
                    <a:pt x="1159" y="96"/>
                  </a:cubicBezTo>
                  <a:cubicBezTo>
                    <a:pt x="1161" y="91"/>
                    <a:pt x="1154" y="83"/>
                    <a:pt x="1158" y="78"/>
                  </a:cubicBezTo>
                  <a:cubicBezTo>
                    <a:pt x="1162" y="73"/>
                    <a:pt x="1155" y="67"/>
                    <a:pt x="1150" y="66"/>
                  </a:cubicBezTo>
                  <a:cubicBezTo>
                    <a:pt x="1144" y="64"/>
                    <a:pt x="1124" y="67"/>
                    <a:pt x="1120" y="64"/>
                  </a:cubicBezTo>
                  <a:cubicBezTo>
                    <a:pt x="1116" y="62"/>
                    <a:pt x="1109" y="59"/>
                    <a:pt x="1107" y="61"/>
                  </a:cubicBezTo>
                  <a:cubicBezTo>
                    <a:pt x="1105" y="63"/>
                    <a:pt x="1100" y="72"/>
                    <a:pt x="1100" y="72"/>
                  </a:cubicBezTo>
                  <a:cubicBezTo>
                    <a:pt x="1100" y="72"/>
                    <a:pt x="1097" y="74"/>
                    <a:pt x="1094" y="68"/>
                  </a:cubicBezTo>
                  <a:cubicBezTo>
                    <a:pt x="1091" y="63"/>
                    <a:pt x="1074" y="63"/>
                    <a:pt x="1068" y="63"/>
                  </a:cubicBezTo>
                  <a:cubicBezTo>
                    <a:pt x="1063" y="63"/>
                    <a:pt x="1058" y="64"/>
                    <a:pt x="1052" y="65"/>
                  </a:cubicBezTo>
                  <a:cubicBezTo>
                    <a:pt x="1046" y="66"/>
                    <a:pt x="1043" y="67"/>
                    <a:pt x="1039" y="63"/>
                  </a:cubicBezTo>
                  <a:cubicBezTo>
                    <a:pt x="1035" y="59"/>
                    <a:pt x="1029" y="57"/>
                    <a:pt x="1027" y="55"/>
                  </a:cubicBezTo>
                  <a:cubicBezTo>
                    <a:pt x="1025" y="53"/>
                    <a:pt x="1014" y="53"/>
                    <a:pt x="1005" y="55"/>
                  </a:cubicBezTo>
                  <a:cubicBezTo>
                    <a:pt x="996" y="56"/>
                    <a:pt x="987" y="56"/>
                    <a:pt x="987" y="56"/>
                  </a:cubicBezTo>
                  <a:cubicBezTo>
                    <a:pt x="987" y="56"/>
                    <a:pt x="983" y="54"/>
                    <a:pt x="977" y="50"/>
                  </a:cubicBezTo>
                  <a:cubicBezTo>
                    <a:pt x="971" y="46"/>
                    <a:pt x="965" y="42"/>
                    <a:pt x="963" y="42"/>
                  </a:cubicBezTo>
                  <a:cubicBezTo>
                    <a:pt x="961" y="42"/>
                    <a:pt x="945" y="46"/>
                    <a:pt x="941" y="42"/>
                  </a:cubicBezTo>
                  <a:cubicBezTo>
                    <a:pt x="937" y="39"/>
                    <a:pt x="934" y="38"/>
                    <a:pt x="931" y="38"/>
                  </a:cubicBezTo>
                  <a:cubicBezTo>
                    <a:pt x="929" y="38"/>
                    <a:pt x="926" y="33"/>
                    <a:pt x="930" y="33"/>
                  </a:cubicBezTo>
                  <a:cubicBezTo>
                    <a:pt x="933" y="33"/>
                    <a:pt x="947" y="28"/>
                    <a:pt x="947" y="28"/>
                  </a:cubicBezTo>
                  <a:cubicBezTo>
                    <a:pt x="947" y="28"/>
                    <a:pt x="943" y="21"/>
                    <a:pt x="938" y="21"/>
                  </a:cubicBezTo>
                  <a:cubicBezTo>
                    <a:pt x="933" y="21"/>
                    <a:pt x="923" y="18"/>
                    <a:pt x="921" y="18"/>
                  </a:cubicBezTo>
                  <a:cubicBezTo>
                    <a:pt x="918" y="18"/>
                    <a:pt x="920" y="21"/>
                    <a:pt x="915" y="20"/>
                  </a:cubicBezTo>
                  <a:cubicBezTo>
                    <a:pt x="910" y="19"/>
                    <a:pt x="903" y="22"/>
                    <a:pt x="902" y="19"/>
                  </a:cubicBezTo>
                  <a:cubicBezTo>
                    <a:pt x="899" y="12"/>
                    <a:pt x="891" y="25"/>
                    <a:pt x="899" y="27"/>
                  </a:cubicBezTo>
                  <a:cubicBezTo>
                    <a:pt x="907" y="30"/>
                    <a:pt x="914" y="27"/>
                    <a:pt x="916" y="31"/>
                  </a:cubicBezTo>
                  <a:cubicBezTo>
                    <a:pt x="918" y="35"/>
                    <a:pt x="916" y="36"/>
                    <a:pt x="916" y="39"/>
                  </a:cubicBezTo>
                  <a:cubicBezTo>
                    <a:pt x="916" y="41"/>
                    <a:pt x="912" y="48"/>
                    <a:pt x="909" y="49"/>
                  </a:cubicBezTo>
                  <a:cubicBezTo>
                    <a:pt x="907" y="50"/>
                    <a:pt x="904" y="47"/>
                    <a:pt x="899" y="50"/>
                  </a:cubicBezTo>
                  <a:cubicBezTo>
                    <a:pt x="893" y="53"/>
                    <a:pt x="881" y="51"/>
                    <a:pt x="879" y="53"/>
                  </a:cubicBezTo>
                  <a:cubicBezTo>
                    <a:pt x="877" y="55"/>
                    <a:pt x="874" y="48"/>
                    <a:pt x="872" y="49"/>
                  </a:cubicBezTo>
                  <a:cubicBezTo>
                    <a:pt x="869" y="50"/>
                    <a:pt x="862" y="58"/>
                    <a:pt x="859" y="58"/>
                  </a:cubicBezTo>
                  <a:cubicBezTo>
                    <a:pt x="855" y="57"/>
                    <a:pt x="851" y="53"/>
                    <a:pt x="851" y="48"/>
                  </a:cubicBezTo>
                  <a:cubicBezTo>
                    <a:pt x="851" y="43"/>
                    <a:pt x="849" y="37"/>
                    <a:pt x="847" y="36"/>
                  </a:cubicBezTo>
                  <a:cubicBezTo>
                    <a:pt x="846" y="35"/>
                    <a:pt x="835" y="34"/>
                    <a:pt x="830" y="35"/>
                  </a:cubicBezTo>
                  <a:cubicBezTo>
                    <a:pt x="826" y="35"/>
                    <a:pt x="813" y="36"/>
                    <a:pt x="811" y="39"/>
                  </a:cubicBezTo>
                  <a:cubicBezTo>
                    <a:pt x="809" y="41"/>
                    <a:pt x="804" y="43"/>
                    <a:pt x="800" y="43"/>
                  </a:cubicBezTo>
                  <a:cubicBezTo>
                    <a:pt x="796" y="43"/>
                    <a:pt x="793" y="39"/>
                    <a:pt x="785" y="38"/>
                  </a:cubicBezTo>
                  <a:cubicBezTo>
                    <a:pt x="778" y="36"/>
                    <a:pt x="761" y="36"/>
                    <a:pt x="759" y="36"/>
                  </a:cubicBezTo>
                  <a:cubicBezTo>
                    <a:pt x="757" y="37"/>
                    <a:pt x="750" y="35"/>
                    <a:pt x="752" y="33"/>
                  </a:cubicBezTo>
                  <a:cubicBezTo>
                    <a:pt x="755" y="30"/>
                    <a:pt x="763" y="22"/>
                    <a:pt x="758" y="19"/>
                  </a:cubicBezTo>
                  <a:cubicBezTo>
                    <a:pt x="753" y="15"/>
                    <a:pt x="743" y="15"/>
                    <a:pt x="738" y="14"/>
                  </a:cubicBezTo>
                  <a:cubicBezTo>
                    <a:pt x="734" y="14"/>
                    <a:pt x="729" y="13"/>
                    <a:pt x="722" y="14"/>
                  </a:cubicBezTo>
                  <a:cubicBezTo>
                    <a:pt x="715" y="15"/>
                    <a:pt x="713" y="19"/>
                    <a:pt x="710" y="16"/>
                  </a:cubicBezTo>
                  <a:cubicBezTo>
                    <a:pt x="707" y="12"/>
                    <a:pt x="718" y="17"/>
                    <a:pt x="707" y="12"/>
                  </a:cubicBezTo>
                  <a:cubicBezTo>
                    <a:pt x="696" y="6"/>
                    <a:pt x="690" y="12"/>
                    <a:pt x="688" y="9"/>
                  </a:cubicBezTo>
                  <a:cubicBezTo>
                    <a:pt x="688" y="8"/>
                    <a:pt x="687" y="8"/>
                    <a:pt x="687" y="8"/>
                  </a:cubicBezTo>
                  <a:cubicBezTo>
                    <a:pt x="686" y="9"/>
                    <a:pt x="684" y="11"/>
                    <a:pt x="680" y="14"/>
                  </a:cubicBezTo>
                  <a:cubicBezTo>
                    <a:pt x="672" y="18"/>
                    <a:pt x="667" y="19"/>
                    <a:pt x="665" y="20"/>
                  </a:cubicBezTo>
                  <a:cubicBezTo>
                    <a:pt x="663" y="20"/>
                    <a:pt x="649" y="18"/>
                    <a:pt x="649" y="16"/>
                  </a:cubicBezTo>
                  <a:cubicBezTo>
                    <a:pt x="648" y="0"/>
                    <a:pt x="641" y="16"/>
                    <a:pt x="636" y="19"/>
                  </a:cubicBezTo>
                  <a:cubicBezTo>
                    <a:pt x="631" y="21"/>
                    <a:pt x="627" y="25"/>
                    <a:pt x="622" y="24"/>
                  </a:cubicBezTo>
                  <a:cubicBezTo>
                    <a:pt x="617" y="22"/>
                    <a:pt x="609" y="22"/>
                    <a:pt x="604" y="25"/>
                  </a:cubicBezTo>
                  <a:cubicBezTo>
                    <a:pt x="599" y="27"/>
                    <a:pt x="595" y="27"/>
                    <a:pt x="590" y="31"/>
                  </a:cubicBezTo>
                  <a:cubicBezTo>
                    <a:pt x="585" y="36"/>
                    <a:pt x="575" y="38"/>
                    <a:pt x="575" y="38"/>
                  </a:cubicBezTo>
                  <a:cubicBezTo>
                    <a:pt x="575" y="38"/>
                    <a:pt x="566" y="38"/>
                    <a:pt x="561" y="38"/>
                  </a:cubicBezTo>
                  <a:cubicBezTo>
                    <a:pt x="557" y="38"/>
                    <a:pt x="551" y="38"/>
                    <a:pt x="555" y="42"/>
                  </a:cubicBezTo>
                  <a:cubicBezTo>
                    <a:pt x="559" y="46"/>
                    <a:pt x="571" y="50"/>
                    <a:pt x="573" y="53"/>
                  </a:cubicBezTo>
                  <a:cubicBezTo>
                    <a:pt x="574" y="55"/>
                    <a:pt x="576" y="63"/>
                    <a:pt x="574" y="64"/>
                  </a:cubicBezTo>
                  <a:cubicBezTo>
                    <a:pt x="571" y="66"/>
                    <a:pt x="567" y="66"/>
                    <a:pt x="567" y="60"/>
                  </a:cubicBezTo>
                  <a:cubicBezTo>
                    <a:pt x="566" y="55"/>
                    <a:pt x="566" y="54"/>
                    <a:pt x="559" y="52"/>
                  </a:cubicBezTo>
                  <a:cubicBezTo>
                    <a:pt x="553" y="49"/>
                    <a:pt x="554" y="51"/>
                    <a:pt x="548" y="46"/>
                  </a:cubicBezTo>
                  <a:cubicBezTo>
                    <a:pt x="543" y="40"/>
                    <a:pt x="538" y="41"/>
                    <a:pt x="535" y="44"/>
                  </a:cubicBezTo>
                  <a:cubicBezTo>
                    <a:pt x="532" y="48"/>
                    <a:pt x="534" y="55"/>
                    <a:pt x="531" y="56"/>
                  </a:cubicBezTo>
                  <a:cubicBezTo>
                    <a:pt x="528" y="56"/>
                    <a:pt x="524" y="59"/>
                    <a:pt x="524" y="53"/>
                  </a:cubicBezTo>
                  <a:cubicBezTo>
                    <a:pt x="523" y="48"/>
                    <a:pt x="523" y="38"/>
                    <a:pt x="520" y="44"/>
                  </a:cubicBezTo>
                  <a:cubicBezTo>
                    <a:pt x="516" y="50"/>
                    <a:pt x="514" y="50"/>
                    <a:pt x="514" y="53"/>
                  </a:cubicBezTo>
                  <a:cubicBezTo>
                    <a:pt x="514" y="56"/>
                    <a:pt x="517" y="59"/>
                    <a:pt x="516" y="64"/>
                  </a:cubicBezTo>
                  <a:cubicBezTo>
                    <a:pt x="515" y="70"/>
                    <a:pt x="515" y="74"/>
                    <a:pt x="517" y="74"/>
                  </a:cubicBezTo>
                  <a:cubicBezTo>
                    <a:pt x="519" y="74"/>
                    <a:pt x="522" y="68"/>
                    <a:pt x="527" y="67"/>
                  </a:cubicBezTo>
                  <a:cubicBezTo>
                    <a:pt x="531" y="66"/>
                    <a:pt x="540" y="63"/>
                    <a:pt x="540" y="68"/>
                  </a:cubicBezTo>
                  <a:cubicBezTo>
                    <a:pt x="541" y="74"/>
                    <a:pt x="546" y="75"/>
                    <a:pt x="541" y="78"/>
                  </a:cubicBezTo>
                  <a:cubicBezTo>
                    <a:pt x="536" y="80"/>
                    <a:pt x="530" y="79"/>
                    <a:pt x="529" y="75"/>
                  </a:cubicBezTo>
                  <a:cubicBezTo>
                    <a:pt x="528" y="72"/>
                    <a:pt x="524" y="72"/>
                    <a:pt x="521" y="75"/>
                  </a:cubicBezTo>
                  <a:cubicBezTo>
                    <a:pt x="517" y="78"/>
                    <a:pt x="509" y="89"/>
                    <a:pt x="509" y="89"/>
                  </a:cubicBezTo>
                  <a:cubicBezTo>
                    <a:pt x="509" y="89"/>
                    <a:pt x="497" y="96"/>
                    <a:pt x="495" y="94"/>
                  </a:cubicBezTo>
                  <a:cubicBezTo>
                    <a:pt x="494" y="93"/>
                    <a:pt x="499" y="86"/>
                    <a:pt x="504" y="83"/>
                  </a:cubicBezTo>
                  <a:cubicBezTo>
                    <a:pt x="508" y="80"/>
                    <a:pt x="511" y="74"/>
                    <a:pt x="509" y="72"/>
                  </a:cubicBezTo>
                  <a:cubicBezTo>
                    <a:pt x="508" y="70"/>
                    <a:pt x="506" y="58"/>
                    <a:pt x="507" y="55"/>
                  </a:cubicBezTo>
                  <a:cubicBezTo>
                    <a:pt x="508" y="52"/>
                    <a:pt x="512" y="48"/>
                    <a:pt x="507" y="45"/>
                  </a:cubicBezTo>
                  <a:cubicBezTo>
                    <a:pt x="502" y="42"/>
                    <a:pt x="498" y="38"/>
                    <a:pt x="494" y="36"/>
                  </a:cubicBezTo>
                  <a:cubicBezTo>
                    <a:pt x="490" y="35"/>
                    <a:pt x="485" y="44"/>
                    <a:pt x="482" y="46"/>
                  </a:cubicBezTo>
                  <a:cubicBezTo>
                    <a:pt x="478" y="49"/>
                    <a:pt x="479" y="52"/>
                    <a:pt x="474" y="52"/>
                  </a:cubicBezTo>
                  <a:cubicBezTo>
                    <a:pt x="469" y="53"/>
                    <a:pt x="466" y="60"/>
                    <a:pt x="474" y="64"/>
                  </a:cubicBezTo>
                  <a:cubicBezTo>
                    <a:pt x="482" y="69"/>
                    <a:pt x="484" y="72"/>
                    <a:pt x="482" y="74"/>
                  </a:cubicBezTo>
                  <a:cubicBezTo>
                    <a:pt x="480" y="77"/>
                    <a:pt x="472" y="73"/>
                    <a:pt x="472" y="73"/>
                  </a:cubicBezTo>
                  <a:cubicBezTo>
                    <a:pt x="472" y="73"/>
                    <a:pt x="465" y="69"/>
                    <a:pt x="461" y="69"/>
                  </a:cubicBezTo>
                  <a:cubicBezTo>
                    <a:pt x="457" y="69"/>
                    <a:pt x="451" y="66"/>
                    <a:pt x="447" y="66"/>
                  </a:cubicBezTo>
                  <a:cubicBezTo>
                    <a:pt x="443" y="65"/>
                    <a:pt x="435" y="65"/>
                    <a:pt x="433" y="67"/>
                  </a:cubicBezTo>
                  <a:cubicBezTo>
                    <a:pt x="431" y="70"/>
                    <a:pt x="426" y="77"/>
                    <a:pt x="421" y="75"/>
                  </a:cubicBezTo>
                  <a:cubicBezTo>
                    <a:pt x="417" y="72"/>
                    <a:pt x="417" y="70"/>
                    <a:pt x="412" y="72"/>
                  </a:cubicBezTo>
                  <a:cubicBezTo>
                    <a:pt x="406" y="75"/>
                    <a:pt x="400" y="71"/>
                    <a:pt x="397" y="74"/>
                  </a:cubicBezTo>
                  <a:cubicBezTo>
                    <a:pt x="394" y="78"/>
                    <a:pt x="397" y="78"/>
                    <a:pt x="387" y="74"/>
                  </a:cubicBezTo>
                  <a:cubicBezTo>
                    <a:pt x="377" y="71"/>
                    <a:pt x="379" y="77"/>
                    <a:pt x="370" y="78"/>
                  </a:cubicBezTo>
                  <a:cubicBezTo>
                    <a:pt x="361" y="80"/>
                    <a:pt x="355" y="77"/>
                    <a:pt x="352" y="80"/>
                  </a:cubicBezTo>
                  <a:cubicBezTo>
                    <a:pt x="350" y="84"/>
                    <a:pt x="346" y="91"/>
                    <a:pt x="345" y="86"/>
                  </a:cubicBezTo>
                  <a:cubicBezTo>
                    <a:pt x="343" y="82"/>
                    <a:pt x="350" y="75"/>
                    <a:pt x="347" y="72"/>
                  </a:cubicBezTo>
                  <a:cubicBezTo>
                    <a:pt x="345" y="70"/>
                    <a:pt x="334" y="71"/>
                    <a:pt x="332" y="73"/>
                  </a:cubicBezTo>
                  <a:cubicBezTo>
                    <a:pt x="331" y="75"/>
                    <a:pt x="332" y="82"/>
                    <a:pt x="333" y="84"/>
                  </a:cubicBezTo>
                  <a:cubicBezTo>
                    <a:pt x="334" y="86"/>
                    <a:pt x="335" y="96"/>
                    <a:pt x="332" y="94"/>
                  </a:cubicBezTo>
                  <a:cubicBezTo>
                    <a:pt x="329" y="92"/>
                    <a:pt x="330" y="86"/>
                    <a:pt x="326" y="87"/>
                  </a:cubicBezTo>
                  <a:cubicBezTo>
                    <a:pt x="323" y="88"/>
                    <a:pt x="320" y="89"/>
                    <a:pt x="318" y="91"/>
                  </a:cubicBezTo>
                  <a:cubicBezTo>
                    <a:pt x="317" y="92"/>
                    <a:pt x="310" y="92"/>
                    <a:pt x="309" y="94"/>
                  </a:cubicBezTo>
                  <a:cubicBezTo>
                    <a:pt x="307" y="97"/>
                    <a:pt x="309" y="103"/>
                    <a:pt x="307" y="104"/>
                  </a:cubicBezTo>
                  <a:cubicBezTo>
                    <a:pt x="304" y="105"/>
                    <a:pt x="302" y="107"/>
                    <a:pt x="297" y="103"/>
                  </a:cubicBezTo>
                  <a:cubicBezTo>
                    <a:pt x="291" y="99"/>
                    <a:pt x="291" y="101"/>
                    <a:pt x="289" y="102"/>
                  </a:cubicBezTo>
                  <a:cubicBezTo>
                    <a:pt x="288" y="103"/>
                    <a:pt x="280" y="108"/>
                    <a:pt x="280" y="103"/>
                  </a:cubicBezTo>
                  <a:cubicBezTo>
                    <a:pt x="279" y="97"/>
                    <a:pt x="281" y="96"/>
                    <a:pt x="276" y="92"/>
                  </a:cubicBezTo>
                  <a:cubicBezTo>
                    <a:pt x="272" y="88"/>
                    <a:pt x="275" y="88"/>
                    <a:pt x="282" y="91"/>
                  </a:cubicBezTo>
                  <a:cubicBezTo>
                    <a:pt x="288" y="93"/>
                    <a:pt x="295" y="94"/>
                    <a:pt x="307" y="90"/>
                  </a:cubicBezTo>
                  <a:cubicBezTo>
                    <a:pt x="318" y="86"/>
                    <a:pt x="323" y="84"/>
                    <a:pt x="318" y="82"/>
                  </a:cubicBezTo>
                  <a:cubicBezTo>
                    <a:pt x="314" y="79"/>
                    <a:pt x="310" y="71"/>
                    <a:pt x="303" y="70"/>
                  </a:cubicBezTo>
                  <a:cubicBezTo>
                    <a:pt x="295" y="69"/>
                    <a:pt x="285" y="74"/>
                    <a:pt x="273" y="69"/>
                  </a:cubicBezTo>
                  <a:cubicBezTo>
                    <a:pt x="262" y="64"/>
                    <a:pt x="259" y="63"/>
                    <a:pt x="255" y="61"/>
                  </a:cubicBezTo>
                  <a:cubicBezTo>
                    <a:pt x="250" y="60"/>
                    <a:pt x="222" y="45"/>
                    <a:pt x="209" y="48"/>
                  </a:cubicBezTo>
                  <a:cubicBezTo>
                    <a:pt x="196" y="50"/>
                    <a:pt x="160" y="71"/>
                    <a:pt x="158" y="72"/>
                  </a:cubicBezTo>
                  <a:cubicBezTo>
                    <a:pt x="156" y="74"/>
                    <a:pt x="153" y="82"/>
                    <a:pt x="146" y="88"/>
                  </a:cubicBezTo>
                  <a:cubicBezTo>
                    <a:pt x="140" y="94"/>
                    <a:pt x="128" y="100"/>
                    <a:pt x="118" y="102"/>
                  </a:cubicBezTo>
                  <a:cubicBezTo>
                    <a:pt x="108" y="105"/>
                    <a:pt x="96" y="122"/>
                    <a:pt x="96" y="125"/>
                  </a:cubicBezTo>
                  <a:cubicBezTo>
                    <a:pt x="96" y="127"/>
                    <a:pt x="100" y="136"/>
                    <a:pt x="99" y="138"/>
                  </a:cubicBezTo>
                  <a:cubicBezTo>
                    <a:pt x="98" y="140"/>
                    <a:pt x="101" y="149"/>
                    <a:pt x="107" y="152"/>
                  </a:cubicBezTo>
                  <a:cubicBezTo>
                    <a:pt x="113" y="154"/>
                    <a:pt x="122" y="153"/>
                    <a:pt x="123" y="150"/>
                  </a:cubicBezTo>
                  <a:cubicBezTo>
                    <a:pt x="124" y="146"/>
                    <a:pt x="131" y="138"/>
                    <a:pt x="132" y="144"/>
                  </a:cubicBezTo>
                  <a:cubicBezTo>
                    <a:pt x="132" y="149"/>
                    <a:pt x="137" y="158"/>
                    <a:pt x="136" y="161"/>
                  </a:cubicBezTo>
                  <a:cubicBezTo>
                    <a:pt x="135" y="165"/>
                    <a:pt x="136" y="169"/>
                    <a:pt x="140" y="168"/>
                  </a:cubicBezTo>
                  <a:cubicBezTo>
                    <a:pt x="144" y="168"/>
                    <a:pt x="163" y="163"/>
                    <a:pt x="163" y="163"/>
                  </a:cubicBezTo>
                  <a:cubicBezTo>
                    <a:pt x="163" y="163"/>
                    <a:pt x="169" y="160"/>
                    <a:pt x="168" y="155"/>
                  </a:cubicBezTo>
                  <a:cubicBezTo>
                    <a:pt x="167" y="150"/>
                    <a:pt x="175" y="143"/>
                    <a:pt x="176" y="141"/>
                  </a:cubicBezTo>
                  <a:cubicBezTo>
                    <a:pt x="178" y="139"/>
                    <a:pt x="183" y="132"/>
                    <a:pt x="177" y="130"/>
                  </a:cubicBezTo>
                  <a:cubicBezTo>
                    <a:pt x="170" y="127"/>
                    <a:pt x="165" y="127"/>
                    <a:pt x="172" y="119"/>
                  </a:cubicBezTo>
                  <a:cubicBezTo>
                    <a:pt x="179" y="112"/>
                    <a:pt x="184" y="119"/>
                    <a:pt x="193" y="108"/>
                  </a:cubicBezTo>
                  <a:cubicBezTo>
                    <a:pt x="203" y="97"/>
                    <a:pt x="191" y="94"/>
                    <a:pt x="201" y="94"/>
                  </a:cubicBezTo>
                  <a:cubicBezTo>
                    <a:pt x="211" y="93"/>
                    <a:pt x="221" y="92"/>
                    <a:pt x="219" y="96"/>
                  </a:cubicBezTo>
                  <a:cubicBezTo>
                    <a:pt x="217" y="100"/>
                    <a:pt x="205" y="108"/>
                    <a:pt x="198" y="111"/>
                  </a:cubicBezTo>
                  <a:cubicBezTo>
                    <a:pt x="192" y="115"/>
                    <a:pt x="193" y="122"/>
                    <a:pt x="195" y="125"/>
                  </a:cubicBezTo>
                  <a:cubicBezTo>
                    <a:pt x="198" y="129"/>
                    <a:pt x="199" y="138"/>
                    <a:pt x="204" y="136"/>
                  </a:cubicBezTo>
                  <a:cubicBezTo>
                    <a:pt x="208" y="135"/>
                    <a:pt x="214" y="131"/>
                    <a:pt x="219" y="132"/>
                  </a:cubicBezTo>
                  <a:cubicBezTo>
                    <a:pt x="224" y="132"/>
                    <a:pt x="235" y="131"/>
                    <a:pt x="236" y="131"/>
                  </a:cubicBezTo>
                  <a:cubicBezTo>
                    <a:pt x="238" y="131"/>
                    <a:pt x="245" y="139"/>
                    <a:pt x="241" y="141"/>
                  </a:cubicBezTo>
                  <a:cubicBezTo>
                    <a:pt x="237" y="142"/>
                    <a:pt x="231" y="141"/>
                    <a:pt x="223" y="142"/>
                  </a:cubicBezTo>
                  <a:cubicBezTo>
                    <a:pt x="214" y="143"/>
                    <a:pt x="204" y="143"/>
                    <a:pt x="204" y="144"/>
                  </a:cubicBezTo>
                  <a:cubicBezTo>
                    <a:pt x="204" y="146"/>
                    <a:pt x="216" y="150"/>
                    <a:pt x="212" y="153"/>
                  </a:cubicBezTo>
                  <a:cubicBezTo>
                    <a:pt x="208" y="157"/>
                    <a:pt x="204" y="153"/>
                    <a:pt x="198" y="152"/>
                  </a:cubicBezTo>
                  <a:cubicBezTo>
                    <a:pt x="193" y="152"/>
                    <a:pt x="190" y="160"/>
                    <a:pt x="189" y="165"/>
                  </a:cubicBezTo>
                  <a:cubicBezTo>
                    <a:pt x="187" y="170"/>
                    <a:pt x="191" y="179"/>
                    <a:pt x="183" y="175"/>
                  </a:cubicBezTo>
                  <a:cubicBezTo>
                    <a:pt x="176" y="172"/>
                    <a:pt x="170" y="172"/>
                    <a:pt x="168" y="174"/>
                  </a:cubicBezTo>
                  <a:cubicBezTo>
                    <a:pt x="166" y="175"/>
                    <a:pt x="162" y="173"/>
                    <a:pt x="157" y="174"/>
                  </a:cubicBezTo>
                  <a:cubicBezTo>
                    <a:pt x="152" y="176"/>
                    <a:pt x="151" y="176"/>
                    <a:pt x="145" y="176"/>
                  </a:cubicBezTo>
                  <a:cubicBezTo>
                    <a:pt x="138" y="176"/>
                    <a:pt x="138" y="176"/>
                    <a:pt x="138" y="176"/>
                  </a:cubicBezTo>
                  <a:cubicBezTo>
                    <a:pt x="134" y="177"/>
                    <a:pt x="134" y="177"/>
                    <a:pt x="134" y="177"/>
                  </a:cubicBezTo>
                  <a:cubicBezTo>
                    <a:pt x="134" y="177"/>
                    <a:pt x="130" y="174"/>
                    <a:pt x="129" y="169"/>
                  </a:cubicBezTo>
                  <a:cubicBezTo>
                    <a:pt x="129" y="164"/>
                    <a:pt x="131" y="158"/>
                    <a:pt x="129" y="157"/>
                  </a:cubicBezTo>
                  <a:cubicBezTo>
                    <a:pt x="126" y="156"/>
                    <a:pt x="117" y="158"/>
                    <a:pt x="115" y="161"/>
                  </a:cubicBezTo>
                  <a:cubicBezTo>
                    <a:pt x="114" y="165"/>
                    <a:pt x="112" y="172"/>
                    <a:pt x="114" y="175"/>
                  </a:cubicBezTo>
                  <a:cubicBezTo>
                    <a:pt x="116" y="178"/>
                    <a:pt x="122" y="184"/>
                    <a:pt x="117" y="182"/>
                  </a:cubicBezTo>
                  <a:cubicBezTo>
                    <a:pt x="111" y="180"/>
                    <a:pt x="104" y="180"/>
                    <a:pt x="100" y="183"/>
                  </a:cubicBezTo>
                  <a:cubicBezTo>
                    <a:pt x="96" y="187"/>
                    <a:pt x="88" y="195"/>
                    <a:pt x="88" y="195"/>
                  </a:cubicBezTo>
                  <a:cubicBezTo>
                    <a:pt x="88" y="195"/>
                    <a:pt x="75" y="196"/>
                    <a:pt x="75" y="200"/>
                  </a:cubicBezTo>
                  <a:cubicBezTo>
                    <a:pt x="75" y="204"/>
                    <a:pt x="75" y="208"/>
                    <a:pt x="71" y="209"/>
                  </a:cubicBezTo>
                  <a:cubicBezTo>
                    <a:pt x="66" y="210"/>
                    <a:pt x="60" y="211"/>
                    <a:pt x="54" y="213"/>
                  </a:cubicBezTo>
                  <a:cubicBezTo>
                    <a:pt x="48" y="214"/>
                    <a:pt x="48" y="217"/>
                    <a:pt x="41" y="218"/>
                  </a:cubicBezTo>
                  <a:cubicBezTo>
                    <a:pt x="34" y="218"/>
                    <a:pt x="33" y="222"/>
                    <a:pt x="39" y="223"/>
                  </a:cubicBezTo>
                  <a:cubicBezTo>
                    <a:pt x="46" y="224"/>
                    <a:pt x="56" y="229"/>
                    <a:pt x="57" y="235"/>
                  </a:cubicBezTo>
                  <a:cubicBezTo>
                    <a:pt x="57" y="240"/>
                    <a:pt x="56" y="246"/>
                    <a:pt x="54" y="252"/>
                  </a:cubicBezTo>
                  <a:cubicBezTo>
                    <a:pt x="52" y="255"/>
                    <a:pt x="41" y="253"/>
                    <a:pt x="35" y="253"/>
                  </a:cubicBezTo>
                  <a:cubicBezTo>
                    <a:pt x="29" y="253"/>
                    <a:pt x="17" y="251"/>
                    <a:pt x="11" y="253"/>
                  </a:cubicBezTo>
                  <a:cubicBezTo>
                    <a:pt x="6" y="255"/>
                    <a:pt x="7" y="268"/>
                    <a:pt x="9" y="273"/>
                  </a:cubicBezTo>
                  <a:cubicBezTo>
                    <a:pt x="10" y="279"/>
                    <a:pt x="8" y="282"/>
                    <a:pt x="6" y="283"/>
                  </a:cubicBezTo>
                  <a:cubicBezTo>
                    <a:pt x="4" y="285"/>
                    <a:pt x="4" y="291"/>
                    <a:pt x="6" y="293"/>
                  </a:cubicBezTo>
                  <a:cubicBezTo>
                    <a:pt x="9" y="296"/>
                    <a:pt x="11" y="301"/>
                    <a:pt x="13" y="302"/>
                  </a:cubicBezTo>
                  <a:cubicBezTo>
                    <a:pt x="15" y="302"/>
                    <a:pt x="22" y="300"/>
                    <a:pt x="24" y="303"/>
                  </a:cubicBezTo>
                  <a:cubicBezTo>
                    <a:pt x="27" y="306"/>
                    <a:pt x="30" y="313"/>
                    <a:pt x="31" y="312"/>
                  </a:cubicBezTo>
                  <a:cubicBezTo>
                    <a:pt x="33" y="310"/>
                    <a:pt x="35" y="302"/>
                    <a:pt x="37" y="304"/>
                  </a:cubicBezTo>
                  <a:cubicBezTo>
                    <a:pt x="40" y="305"/>
                    <a:pt x="46" y="303"/>
                    <a:pt x="51" y="302"/>
                  </a:cubicBezTo>
                  <a:cubicBezTo>
                    <a:pt x="55" y="302"/>
                    <a:pt x="58" y="296"/>
                    <a:pt x="63" y="293"/>
                  </a:cubicBezTo>
                  <a:cubicBezTo>
                    <a:pt x="67" y="290"/>
                    <a:pt x="65" y="290"/>
                    <a:pt x="63" y="286"/>
                  </a:cubicBezTo>
                  <a:cubicBezTo>
                    <a:pt x="62" y="282"/>
                    <a:pt x="68" y="278"/>
                    <a:pt x="71" y="274"/>
                  </a:cubicBezTo>
                  <a:cubicBezTo>
                    <a:pt x="75" y="269"/>
                    <a:pt x="82" y="273"/>
                    <a:pt x="83" y="268"/>
                  </a:cubicBezTo>
                  <a:cubicBezTo>
                    <a:pt x="85" y="263"/>
                    <a:pt x="85" y="255"/>
                    <a:pt x="89" y="255"/>
                  </a:cubicBezTo>
                  <a:cubicBezTo>
                    <a:pt x="94" y="256"/>
                    <a:pt x="99" y="259"/>
                    <a:pt x="103" y="259"/>
                  </a:cubicBezTo>
                  <a:cubicBezTo>
                    <a:pt x="106" y="259"/>
                    <a:pt x="114" y="252"/>
                    <a:pt x="116" y="251"/>
                  </a:cubicBezTo>
                  <a:cubicBezTo>
                    <a:pt x="118" y="250"/>
                    <a:pt x="126" y="251"/>
                    <a:pt x="127" y="256"/>
                  </a:cubicBezTo>
                  <a:cubicBezTo>
                    <a:pt x="128" y="261"/>
                    <a:pt x="137" y="268"/>
                    <a:pt x="139" y="269"/>
                  </a:cubicBezTo>
                  <a:cubicBezTo>
                    <a:pt x="141" y="271"/>
                    <a:pt x="155" y="276"/>
                    <a:pt x="157" y="277"/>
                  </a:cubicBezTo>
                  <a:cubicBezTo>
                    <a:pt x="159" y="279"/>
                    <a:pt x="162" y="285"/>
                    <a:pt x="163" y="290"/>
                  </a:cubicBezTo>
                  <a:cubicBezTo>
                    <a:pt x="164" y="294"/>
                    <a:pt x="170" y="300"/>
                    <a:pt x="170" y="296"/>
                  </a:cubicBezTo>
                  <a:cubicBezTo>
                    <a:pt x="171" y="292"/>
                    <a:pt x="165" y="278"/>
                    <a:pt x="169" y="279"/>
                  </a:cubicBezTo>
                  <a:cubicBezTo>
                    <a:pt x="173" y="279"/>
                    <a:pt x="177" y="277"/>
                    <a:pt x="177" y="277"/>
                  </a:cubicBezTo>
                  <a:cubicBezTo>
                    <a:pt x="177" y="277"/>
                    <a:pt x="167" y="269"/>
                    <a:pt x="163" y="268"/>
                  </a:cubicBezTo>
                  <a:cubicBezTo>
                    <a:pt x="160" y="266"/>
                    <a:pt x="153" y="262"/>
                    <a:pt x="150" y="256"/>
                  </a:cubicBezTo>
                  <a:cubicBezTo>
                    <a:pt x="147" y="250"/>
                    <a:pt x="139" y="249"/>
                    <a:pt x="140" y="243"/>
                  </a:cubicBezTo>
                  <a:cubicBezTo>
                    <a:pt x="140" y="236"/>
                    <a:pt x="147" y="240"/>
                    <a:pt x="151" y="245"/>
                  </a:cubicBezTo>
                  <a:cubicBezTo>
                    <a:pt x="156" y="250"/>
                    <a:pt x="166" y="257"/>
                    <a:pt x="169" y="261"/>
                  </a:cubicBezTo>
                  <a:cubicBezTo>
                    <a:pt x="173" y="265"/>
                    <a:pt x="179" y="267"/>
                    <a:pt x="180" y="272"/>
                  </a:cubicBezTo>
                  <a:cubicBezTo>
                    <a:pt x="182" y="278"/>
                    <a:pt x="186" y="284"/>
                    <a:pt x="188" y="286"/>
                  </a:cubicBezTo>
                  <a:cubicBezTo>
                    <a:pt x="190" y="289"/>
                    <a:pt x="191" y="308"/>
                    <a:pt x="192" y="311"/>
                  </a:cubicBezTo>
                  <a:cubicBezTo>
                    <a:pt x="194" y="314"/>
                    <a:pt x="203" y="305"/>
                    <a:pt x="206" y="302"/>
                  </a:cubicBezTo>
                  <a:cubicBezTo>
                    <a:pt x="208" y="300"/>
                    <a:pt x="213" y="299"/>
                    <a:pt x="213" y="294"/>
                  </a:cubicBezTo>
                  <a:cubicBezTo>
                    <a:pt x="214" y="289"/>
                    <a:pt x="207" y="285"/>
                    <a:pt x="205" y="283"/>
                  </a:cubicBezTo>
                  <a:cubicBezTo>
                    <a:pt x="203" y="282"/>
                    <a:pt x="210" y="280"/>
                    <a:pt x="213" y="277"/>
                  </a:cubicBezTo>
                  <a:cubicBezTo>
                    <a:pt x="215" y="275"/>
                    <a:pt x="220" y="271"/>
                    <a:pt x="222" y="274"/>
                  </a:cubicBezTo>
                  <a:cubicBezTo>
                    <a:pt x="224" y="278"/>
                    <a:pt x="223" y="293"/>
                    <a:pt x="224" y="295"/>
                  </a:cubicBezTo>
                  <a:cubicBezTo>
                    <a:pt x="225" y="297"/>
                    <a:pt x="236" y="301"/>
                    <a:pt x="238" y="304"/>
                  </a:cubicBezTo>
                  <a:cubicBezTo>
                    <a:pt x="240" y="307"/>
                    <a:pt x="248" y="308"/>
                    <a:pt x="250" y="307"/>
                  </a:cubicBezTo>
                  <a:cubicBezTo>
                    <a:pt x="252" y="305"/>
                    <a:pt x="260" y="308"/>
                    <a:pt x="262" y="308"/>
                  </a:cubicBezTo>
                  <a:cubicBezTo>
                    <a:pt x="264" y="309"/>
                    <a:pt x="270" y="307"/>
                    <a:pt x="274" y="306"/>
                  </a:cubicBezTo>
                  <a:cubicBezTo>
                    <a:pt x="278" y="305"/>
                    <a:pt x="283" y="301"/>
                    <a:pt x="282" y="309"/>
                  </a:cubicBezTo>
                  <a:cubicBezTo>
                    <a:pt x="282" y="317"/>
                    <a:pt x="280" y="329"/>
                    <a:pt x="275" y="335"/>
                  </a:cubicBezTo>
                  <a:cubicBezTo>
                    <a:pt x="270" y="341"/>
                    <a:pt x="272" y="344"/>
                    <a:pt x="267" y="344"/>
                  </a:cubicBezTo>
                  <a:cubicBezTo>
                    <a:pt x="261" y="344"/>
                    <a:pt x="257" y="344"/>
                    <a:pt x="256" y="354"/>
                  </a:cubicBezTo>
                  <a:cubicBezTo>
                    <a:pt x="255" y="364"/>
                    <a:pt x="263" y="368"/>
                    <a:pt x="267" y="368"/>
                  </a:cubicBezTo>
                  <a:cubicBezTo>
                    <a:pt x="271" y="367"/>
                    <a:pt x="282" y="362"/>
                    <a:pt x="283" y="366"/>
                  </a:cubicBezTo>
                  <a:cubicBezTo>
                    <a:pt x="284" y="371"/>
                    <a:pt x="289" y="380"/>
                    <a:pt x="290" y="387"/>
                  </a:cubicBezTo>
                  <a:cubicBezTo>
                    <a:pt x="291" y="393"/>
                    <a:pt x="297" y="391"/>
                    <a:pt x="298" y="397"/>
                  </a:cubicBezTo>
                  <a:cubicBezTo>
                    <a:pt x="298" y="403"/>
                    <a:pt x="303" y="418"/>
                    <a:pt x="305" y="419"/>
                  </a:cubicBezTo>
                  <a:cubicBezTo>
                    <a:pt x="307" y="421"/>
                    <a:pt x="317" y="431"/>
                    <a:pt x="318" y="435"/>
                  </a:cubicBezTo>
                  <a:cubicBezTo>
                    <a:pt x="320" y="438"/>
                    <a:pt x="322" y="443"/>
                    <a:pt x="323" y="452"/>
                  </a:cubicBezTo>
                  <a:cubicBezTo>
                    <a:pt x="325" y="462"/>
                    <a:pt x="326" y="474"/>
                    <a:pt x="331" y="476"/>
                  </a:cubicBezTo>
                  <a:cubicBezTo>
                    <a:pt x="335" y="477"/>
                    <a:pt x="349" y="473"/>
                    <a:pt x="351" y="471"/>
                  </a:cubicBezTo>
                  <a:cubicBezTo>
                    <a:pt x="354" y="469"/>
                    <a:pt x="371" y="459"/>
                    <a:pt x="377" y="459"/>
                  </a:cubicBezTo>
                  <a:cubicBezTo>
                    <a:pt x="383" y="458"/>
                    <a:pt x="384" y="453"/>
                    <a:pt x="392" y="451"/>
                  </a:cubicBezTo>
                  <a:cubicBezTo>
                    <a:pt x="400" y="449"/>
                    <a:pt x="405" y="443"/>
                    <a:pt x="411" y="438"/>
                  </a:cubicBezTo>
                  <a:cubicBezTo>
                    <a:pt x="416" y="433"/>
                    <a:pt x="422" y="421"/>
                    <a:pt x="424" y="416"/>
                  </a:cubicBezTo>
                  <a:cubicBezTo>
                    <a:pt x="426" y="412"/>
                    <a:pt x="431" y="409"/>
                    <a:pt x="429" y="404"/>
                  </a:cubicBezTo>
                  <a:cubicBezTo>
                    <a:pt x="426" y="399"/>
                    <a:pt x="415" y="392"/>
                    <a:pt x="411" y="391"/>
                  </a:cubicBezTo>
                  <a:cubicBezTo>
                    <a:pt x="407" y="391"/>
                    <a:pt x="408" y="383"/>
                    <a:pt x="405" y="383"/>
                  </a:cubicBezTo>
                  <a:cubicBezTo>
                    <a:pt x="402" y="383"/>
                    <a:pt x="403" y="387"/>
                    <a:pt x="398" y="390"/>
                  </a:cubicBezTo>
                  <a:cubicBezTo>
                    <a:pt x="393" y="393"/>
                    <a:pt x="387" y="399"/>
                    <a:pt x="384" y="398"/>
                  </a:cubicBezTo>
                  <a:cubicBezTo>
                    <a:pt x="380" y="397"/>
                    <a:pt x="385" y="394"/>
                    <a:pt x="379" y="388"/>
                  </a:cubicBezTo>
                  <a:cubicBezTo>
                    <a:pt x="373" y="383"/>
                    <a:pt x="371" y="382"/>
                    <a:pt x="371" y="377"/>
                  </a:cubicBezTo>
                  <a:cubicBezTo>
                    <a:pt x="371" y="373"/>
                    <a:pt x="360" y="365"/>
                    <a:pt x="359" y="359"/>
                  </a:cubicBezTo>
                  <a:cubicBezTo>
                    <a:pt x="358" y="353"/>
                    <a:pt x="367" y="344"/>
                    <a:pt x="369" y="350"/>
                  </a:cubicBezTo>
                  <a:cubicBezTo>
                    <a:pt x="372" y="355"/>
                    <a:pt x="374" y="364"/>
                    <a:pt x="381" y="368"/>
                  </a:cubicBezTo>
                  <a:cubicBezTo>
                    <a:pt x="387" y="371"/>
                    <a:pt x="394" y="377"/>
                    <a:pt x="397" y="379"/>
                  </a:cubicBezTo>
                  <a:cubicBezTo>
                    <a:pt x="400" y="380"/>
                    <a:pt x="408" y="372"/>
                    <a:pt x="410" y="373"/>
                  </a:cubicBezTo>
                  <a:cubicBezTo>
                    <a:pt x="413" y="374"/>
                    <a:pt x="418" y="385"/>
                    <a:pt x="422" y="387"/>
                  </a:cubicBezTo>
                  <a:cubicBezTo>
                    <a:pt x="427" y="389"/>
                    <a:pt x="443" y="390"/>
                    <a:pt x="445" y="390"/>
                  </a:cubicBezTo>
                  <a:cubicBezTo>
                    <a:pt x="448" y="390"/>
                    <a:pt x="459" y="390"/>
                    <a:pt x="461" y="387"/>
                  </a:cubicBezTo>
                  <a:cubicBezTo>
                    <a:pt x="463" y="383"/>
                    <a:pt x="464" y="383"/>
                    <a:pt x="467" y="383"/>
                  </a:cubicBezTo>
                  <a:cubicBezTo>
                    <a:pt x="469" y="383"/>
                    <a:pt x="474" y="394"/>
                    <a:pt x="478" y="395"/>
                  </a:cubicBezTo>
                  <a:cubicBezTo>
                    <a:pt x="481" y="396"/>
                    <a:pt x="488" y="396"/>
                    <a:pt x="488" y="404"/>
                  </a:cubicBezTo>
                  <a:cubicBezTo>
                    <a:pt x="487" y="412"/>
                    <a:pt x="491" y="418"/>
                    <a:pt x="494" y="419"/>
                  </a:cubicBezTo>
                  <a:cubicBezTo>
                    <a:pt x="498" y="419"/>
                    <a:pt x="506" y="410"/>
                    <a:pt x="506" y="410"/>
                  </a:cubicBezTo>
                  <a:cubicBezTo>
                    <a:pt x="506" y="410"/>
                    <a:pt x="506" y="425"/>
                    <a:pt x="506" y="430"/>
                  </a:cubicBezTo>
                  <a:cubicBezTo>
                    <a:pt x="505" y="436"/>
                    <a:pt x="511" y="456"/>
                    <a:pt x="511" y="456"/>
                  </a:cubicBezTo>
                  <a:cubicBezTo>
                    <a:pt x="511" y="456"/>
                    <a:pt x="519" y="475"/>
                    <a:pt x="521" y="479"/>
                  </a:cubicBezTo>
                  <a:cubicBezTo>
                    <a:pt x="523" y="484"/>
                    <a:pt x="532" y="496"/>
                    <a:pt x="532" y="502"/>
                  </a:cubicBezTo>
                  <a:cubicBezTo>
                    <a:pt x="532" y="507"/>
                    <a:pt x="533" y="516"/>
                    <a:pt x="536" y="516"/>
                  </a:cubicBezTo>
                  <a:cubicBezTo>
                    <a:pt x="539" y="516"/>
                    <a:pt x="542" y="506"/>
                    <a:pt x="546" y="500"/>
                  </a:cubicBezTo>
                  <a:cubicBezTo>
                    <a:pt x="549" y="494"/>
                    <a:pt x="553" y="488"/>
                    <a:pt x="555" y="482"/>
                  </a:cubicBezTo>
                  <a:cubicBezTo>
                    <a:pt x="557" y="476"/>
                    <a:pt x="554" y="462"/>
                    <a:pt x="554" y="458"/>
                  </a:cubicBezTo>
                  <a:cubicBezTo>
                    <a:pt x="554" y="454"/>
                    <a:pt x="557" y="450"/>
                    <a:pt x="564" y="446"/>
                  </a:cubicBezTo>
                  <a:cubicBezTo>
                    <a:pt x="571" y="443"/>
                    <a:pt x="576" y="432"/>
                    <a:pt x="583" y="427"/>
                  </a:cubicBezTo>
                  <a:cubicBezTo>
                    <a:pt x="589" y="421"/>
                    <a:pt x="588" y="412"/>
                    <a:pt x="601" y="412"/>
                  </a:cubicBezTo>
                  <a:cubicBezTo>
                    <a:pt x="613" y="412"/>
                    <a:pt x="612" y="412"/>
                    <a:pt x="615" y="409"/>
                  </a:cubicBezTo>
                  <a:cubicBezTo>
                    <a:pt x="618" y="405"/>
                    <a:pt x="621" y="402"/>
                    <a:pt x="623" y="409"/>
                  </a:cubicBezTo>
                  <a:cubicBezTo>
                    <a:pt x="624" y="416"/>
                    <a:pt x="633" y="426"/>
                    <a:pt x="635" y="428"/>
                  </a:cubicBezTo>
                  <a:cubicBezTo>
                    <a:pt x="636" y="430"/>
                    <a:pt x="639" y="437"/>
                    <a:pt x="639" y="444"/>
                  </a:cubicBezTo>
                  <a:cubicBezTo>
                    <a:pt x="638" y="452"/>
                    <a:pt x="636" y="472"/>
                    <a:pt x="638" y="472"/>
                  </a:cubicBezTo>
                  <a:cubicBezTo>
                    <a:pt x="641" y="472"/>
                    <a:pt x="650" y="450"/>
                    <a:pt x="650" y="450"/>
                  </a:cubicBezTo>
                  <a:cubicBezTo>
                    <a:pt x="650" y="450"/>
                    <a:pt x="661" y="441"/>
                    <a:pt x="661" y="451"/>
                  </a:cubicBezTo>
                  <a:cubicBezTo>
                    <a:pt x="660" y="460"/>
                    <a:pt x="662" y="471"/>
                    <a:pt x="662" y="477"/>
                  </a:cubicBezTo>
                  <a:cubicBezTo>
                    <a:pt x="662" y="483"/>
                    <a:pt x="671" y="498"/>
                    <a:pt x="671" y="494"/>
                  </a:cubicBezTo>
                  <a:cubicBezTo>
                    <a:pt x="671" y="490"/>
                    <a:pt x="675" y="480"/>
                    <a:pt x="675" y="474"/>
                  </a:cubicBezTo>
                  <a:cubicBezTo>
                    <a:pt x="675" y="469"/>
                    <a:pt x="678" y="471"/>
                    <a:pt x="684" y="477"/>
                  </a:cubicBezTo>
                  <a:cubicBezTo>
                    <a:pt x="691" y="482"/>
                    <a:pt x="696" y="493"/>
                    <a:pt x="696" y="493"/>
                  </a:cubicBezTo>
                  <a:cubicBezTo>
                    <a:pt x="696" y="493"/>
                    <a:pt x="702" y="514"/>
                    <a:pt x="703" y="517"/>
                  </a:cubicBezTo>
                  <a:cubicBezTo>
                    <a:pt x="704" y="520"/>
                    <a:pt x="712" y="502"/>
                    <a:pt x="713" y="499"/>
                  </a:cubicBezTo>
                  <a:cubicBezTo>
                    <a:pt x="715" y="495"/>
                    <a:pt x="716" y="493"/>
                    <a:pt x="720" y="492"/>
                  </a:cubicBezTo>
                  <a:cubicBezTo>
                    <a:pt x="724" y="491"/>
                    <a:pt x="729" y="491"/>
                    <a:pt x="731" y="484"/>
                  </a:cubicBezTo>
                  <a:cubicBezTo>
                    <a:pt x="732" y="477"/>
                    <a:pt x="737" y="470"/>
                    <a:pt x="731" y="460"/>
                  </a:cubicBezTo>
                  <a:cubicBezTo>
                    <a:pt x="725" y="451"/>
                    <a:pt x="721" y="445"/>
                    <a:pt x="717" y="441"/>
                  </a:cubicBezTo>
                  <a:cubicBezTo>
                    <a:pt x="712" y="437"/>
                    <a:pt x="709" y="426"/>
                    <a:pt x="709" y="426"/>
                  </a:cubicBezTo>
                  <a:cubicBezTo>
                    <a:pt x="709" y="426"/>
                    <a:pt x="718" y="415"/>
                    <a:pt x="721" y="412"/>
                  </a:cubicBezTo>
                  <a:cubicBezTo>
                    <a:pt x="725" y="408"/>
                    <a:pt x="729" y="410"/>
                    <a:pt x="730" y="415"/>
                  </a:cubicBezTo>
                  <a:cubicBezTo>
                    <a:pt x="730" y="419"/>
                    <a:pt x="725" y="423"/>
                    <a:pt x="724" y="432"/>
                  </a:cubicBezTo>
                  <a:cubicBezTo>
                    <a:pt x="723" y="441"/>
                    <a:pt x="730" y="444"/>
                    <a:pt x="732" y="441"/>
                  </a:cubicBezTo>
                  <a:cubicBezTo>
                    <a:pt x="734" y="438"/>
                    <a:pt x="740" y="430"/>
                    <a:pt x="740" y="429"/>
                  </a:cubicBezTo>
                  <a:cubicBezTo>
                    <a:pt x="740" y="427"/>
                    <a:pt x="736" y="427"/>
                    <a:pt x="735" y="421"/>
                  </a:cubicBezTo>
                  <a:cubicBezTo>
                    <a:pt x="735" y="414"/>
                    <a:pt x="742" y="409"/>
                    <a:pt x="745" y="411"/>
                  </a:cubicBezTo>
                  <a:cubicBezTo>
                    <a:pt x="747" y="413"/>
                    <a:pt x="764" y="409"/>
                    <a:pt x="772" y="404"/>
                  </a:cubicBezTo>
                  <a:cubicBezTo>
                    <a:pt x="779" y="399"/>
                    <a:pt x="784" y="388"/>
                    <a:pt x="789" y="384"/>
                  </a:cubicBezTo>
                  <a:cubicBezTo>
                    <a:pt x="793" y="380"/>
                    <a:pt x="809" y="366"/>
                    <a:pt x="808" y="359"/>
                  </a:cubicBezTo>
                  <a:cubicBezTo>
                    <a:pt x="807" y="352"/>
                    <a:pt x="809" y="343"/>
                    <a:pt x="805" y="335"/>
                  </a:cubicBezTo>
                  <a:cubicBezTo>
                    <a:pt x="800" y="326"/>
                    <a:pt x="795" y="321"/>
                    <a:pt x="793" y="317"/>
                  </a:cubicBezTo>
                  <a:cubicBezTo>
                    <a:pt x="791" y="313"/>
                    <a:pt x="802" y="313"/>
                    <a:pt x="807" y="307"/>
                  </a:cubicBezTo>
                  <a:cubicBezTo>
                    <a:pt x="812" y="302"/>
                    <a:pt x="807" y="297"/>
                    <a:pt x="805" y="297"/>
                  </a:cubicBezTo>
                  <a:cubicBezTo>
                    <a:pt x="802" y="298"/>
                    <a:pt x="795" y="300"/>
                    <a:pt x="793" y="299"/>
                  </a:cubicBezTo>
                  <a:cubicBezTo>
                    <a:pt x="790" y="299"/>
                    <a:pt x="789" y="296"/>
                    <a:pt x="784" y="292"/>
                  </a:cubicBezTo>
                  <a:cubicBezTo>
                    <a:pt x="780" y="288"/>
                    <a:pt x="785" y="283"/>
                    <a:pt x="788" y="283"/>
                  </a:cubicBezTo>
                  <a:cubicBezTo>
                    <a:pt x="791" y="284"/>
                    <a:pt x="797" y="277"/>
                    <a:pt x="800" y="274"/>
                  </a:cubicBezTo>
                  <a:cubicBezTo>
                    <a:pt x="804" y="271"/>
                    <a:pt x="808" y="269"/>
                    <a:pt x="807" y="272"/>
                  </a:cubicBezTo>
                  <a:cubicBezTo>
                    <a:pt x="805" y="275"/>
                    <a:pt x="801" y="286"/>
                    <a:pt x="806" y="286"/>
                  </a:cubicBezTo>
                  <a:cubicBezTo>
                    <a:pt x="810" y="287"/>
                    <a:pt x="820" y="277"/>
                    <a:pt x="821" y="278"/>
                  </a:cubicBezTo>
                  <a:cubicBezTo>
                    <a:pt x="823" y="279"/>
                    <a:pt x="825" y="286"/>
                    <a:pt x="824" y="290"/>
                  </a:cubicBezTo>
                  <a:cubicBezTo>
                    <a:pt x="822" y="294"/>
                    <a:pt x="822" y="300"/>
                    <a:pt x="824" y="299"/>
                  </a:cubicBezTo>
                  <a:cubicBezTo>
                    <a:pt x="826" y="299"/>
                    <a:pt x="830" y="293"/>
                    <a:pt x="831" y="295"/>
                  </a:cubicBezTo>
                  <a:cubicBezTo>
                    <a:pt x="832" y="297"/>
                    <a:pt x="838" y="301"/>
                    <a:pt x="835" y="307"/>
                  </a:cubicBezTo>
                  <a:cubicBezTo>
                    <a:pt x="832" y="314"/>
                    <a:pt x="827" y="316"/>
                    <a:pt x="834" y="321"/>
                  </a:cubicBezTo>
                  <a:cubicBezTo>
                    <a:pt x="840" y="325"/>
                    <a:pt x="842" y="321"/>
                    <a:pt x="846" y="318"/>
                  </a:cubicBezTo>
                  <a:cubicBezTo>
                    <a:pt x="851" y="315"/>
                    <a:pt x="854" y="302"/>
                    <a:pt x="852" y="297"/>
                  </a:cubicBezTo>
                  <a:cubicBezTo>
                    <a:pt x="849" y="293"/>
                    <a:pt x="843" y="285"/>
                    <a:pt x="843" y="282"/>
                  </a:cubicBezTo>
                  <a:cubicBezTo>
                    <a:pt x="843" y="279"/>
                    <a:pt x="853" y="279"/>
                    <a:pt x="853" y="274"/>
                  </a:cubicBezTo>
                  <a:cubicBezTo>
                    <a:pt x="853" y="269"/>
                    <a:pt x="857" y="265"/>
                    <a:pt x="860" y="263"/>
                  </a:cubicBezTo>
                  <a:cubicBezTo>
                    <a:pt x="864" y="261"/>
                    <a:pt x="869" y="254"/>
                    <a:pt x="870" y="256"/>
                  </a:cubicBezTo>
                  <a:cubicBezTo>
                    <a:pt x="872" y="258"/>
                    <a:pt x="881" y="261"/>
                    <a:pt x="884" y="258"/>
                  </a:cubicBezTo>
                  <a:cubicBezTo>
                    <a:pt x="886" y="254"/>
                    <a:pt x="900" y="241"/>
                    <a:pt x="908" y="233"/>
                  </a:cubicBezTo>
                  <a:cubicBezTo>
                    <a:pt x="916" y="226"/>
                    <a:pt x="919" y="218"/>
                    <a:pt x="921" y="209"/>
                  </a:cubicBezTo>
                  <a:cubicBezTo>
                    <a:pt x="923" y="200"/>
                    <a:pt x="926" y="195"/>
                    <a:pt x="925" y="188"/>
                  </a:cubicBezTo>
                  <a:cubicBezTo>
                    <a:pt x="929" y="197"/>
                    <a:pt x="929" y="203"/>
                    <a:pt x="929" y="210"/>
                  </a:cubicBezTo>
                  <a:cubicBezTo>
                    <a:pt x="928" y="216"/>
                    <a:pt x="929" y="230"/>
                    <a:pt x="930" y="232"/>
                  </a:cubicBezTo>
                  <a:cubicBezTo>
                    <a:pt x="931" y="234"/>
                    <a:pt x="935" y="238"/>
                    <a:pt x="937" y="237"/>
                  </a:cubicBezTo>
                  <a:cubicBezTo>
                    <a:pt x="940" y="236"/>
                    <a:pt x="936" y="224"/>
                    <a:pt x="936" y="221"/>
                  </a:cubicBezTo>
                  <a:cubicBezTo>
                    <a:pt x="936" y="219"/>
                    <a:pt x="940" y="215"/>
                    <a:pt x="942" y="215"/>
                  </a:cubicBezTo>
                  <a:cubicBezTo>
                    <a:pt x="944" y="214"/>
                    <a:pt x="942" y="204"/>
                    <a:pt x="939" y="199"/>
                  </a:cubicBezTo>
                  <a:cubicBezTo>
                    <a:pt x="937" y="195"/>
                    <a:pt x="933" y="193"/>
                    <a:pt x="935" y="192"/>
                  </a:cubicBezTo>
                  <a:cubicBezTo>
                    <a:pt x="937" y="191"/>
                    <a:pt x="940" y="186"/>
                    <a:pt x="938" y="185"/>
                  </a:cubicBezTo>
                  <a:cubicBezTo>
                    <a:pt x="937" y="184"/>
                    <a:pt x="938" y="180"/>
                    <a:pt x="934" y="181"/>
                  </a:cubicBezTo>
                  <a:cubicBezTo>
                    <a:pt x="932" y="182"/>
                    <a:pt x="925" y="180"/>
                    <a:pt x="925" y="185"/>
                  </a:cubicBezTo>
                  <a:cubicBezTo>
                    <a:pt x="923" y="180"/>
                    <a:pt x="920" y="177"/>
                    <a:pt x="916" y="177"/>
                  </a:cubicBezTo>
                  <a:cubicBezTo>
                    <a:pt x="911" y="178"/>
                    <a:pt x="909" y="181"/>
                    <a:pt x="904" y="181"/>
                  </a:cubicBezTo>
                  <a:cubicBezTo>
                    <a:pt x="900" y="181"/>
                    <a:pt x="903" y="172"/>
                    <a:pt x="901" y="172"/>
                  </a:cubicBezTo>
                  <a:cubicBezTo>
                    <a:pt x="899" y="172"/>
                    <a:pt x="894" y="180"/>
                    <a:pt x="892" y="176"/>
                  </a:cubicBezTo>
                  <a:cubicBezTo>
                    <a:pt x="889" y="172"/>
                    <a:pt x="899" y="166"/>
                    <a:pt x="907" y="163"/>
                  </a:cubicBezTo>
                  <a:cubicBezTo>
                    <a:pt x="915" y="160"/>
                    <a:pt x="927" y="143"/>
                    <a:pt x="933" y="142"/>
                  </a:cubicBezTo>
                  <a:cubicBezTo>
                    <a:pt x="938" y="141"/>
                    <a:pt x="951" y="143"/>
                    <a:pt x="962" y="143"/>
                  </a:cubicBezTo>
                  <a:cubicBezTo>
                    <a:pt x="973" y="142"/>
                    <a:pt x="977" y="136"/>
                    <a:pt x="981" y="139"/>
                  </a:cubicBezTo>
                  <a:cubicBezTo>
                    <a:pt x="984" y="143"/>
                    <a:pt x="992" y="146"/>
                    <a:pt x="997" y="146"/>
                  </a:cubicBezTo>
                  <a:cubicBezTo>
                    <a:pt x="1001" y="145"/>
                    <a:pt x="999" y="146"/>
                    <a:pt x="1007" y="139"/>
                  </a:cubicBezTo>
                  <a:cubicBezTo>
                    <a:pt x="1014" y="133"/>
                    <a:pt x="1020" y="130"/>
                    <a:pt x="1024" y="125"/>
                  </a:cubicBezTo>
                  <a:cubicBezTo>
                    <a:pt x="1028" y="121"/>
                    <a:pt x="1037" y="117"/>
                    <a:pt x="1038" y="122"/>
                  </a:cubicBezTo>
                  <a:cubicBezTo>
                    <a:pt x="1039" y="127"/>
                    <a:pt x="1037" y="132"/>
                    <a:pt x="1041" y="132"/>
                  </a:cubicBezTo>
                  <a:cubicBezTo>
                    <a:pt x="1045" y="132"/>
                    <a:pt x="1051" y="127"/>
                    <a:pt x="1057" y="124"/>
                  </a:cubicBezTo>
                  <a:cubicBezTo>
                    <a:pt x="1062" y="122"/>
                    <a:pt x="1066" y="119"/>
                    <a:pt x="1066" y="119"/>
                  </a:cubicBezTo>
                  <a:cubicBezTo>
                    <a:pt x="1066" y="119"/>
                    <a:pt x="1045" y="136"/>
                    <a:pt x="1040" y="139"/>
                  </a:cubicBezTo>
                  <a:cubicBezTo>
                    <a:pt x="1034" y="143"/>
                    <a:pt x="1022" y="146"/>
                    <a:pt x="1017" y="153"/>
                  </a:cubicBezTo>
                  <a:cubicBezTo>
                    <a:pt x="1012" y="160"/>
                    <a:pt x="1009" y="163"/>
                    <a:pt x="1009" y="171"/>
                  </a:cubicBezTo>
                  <a:cubicBezTo>
                    <a:pt x="1010" y="179"/>
                    <a:pt x="1018" y="189"/>
                    <a:pt x="1014" y="196"/>
                  </a:cubicBezTo>
                  <a:cubicBezTo>
                    <a:pt x="1010" y="204"/>
                    <a:pt x="1009" y="214"/>
                    <a:pt x="1009" y="214"/>
                  </a:cubicBezTo>
                  <a:cubicBezTo>
                    <a:pt x="1009" y="214"/>
                    <a:pt x="1015" y="204"/>
                    <a:pt x="1024" y="197"/>
                  </a:cubicBezTo>
                  <a:cubicBezTo>
                    <a:pt x="1032" y="190"/>
                    <a:pt x="1037" y="181"/>
                    <a:pt x="1041" y="177"/>
                  </a:cubicBezTo>
                  <a:cubicBezTo>
                    <a:pt x="1044" y="174"/>
                    <a:pt x="1053" y="173"/>
                    <a:pt x="1053" y="169"/>
                  </a:cubicBezTo>
                  <a:cubicBezTo>
                    <a:pt x="1053" y="164"/>
                    <a:pt x="1056" y="159"/>
                    <a:pt x="1057" y="154"/>
                  </a:cubicBezTo>
                  <a:cubicBezTo>
                    <a:pt x="1059" y="149"/>
                    <a:pt x="1054" y="150"/>
                    <a:pt x="1057" y="144"/>
                  </a:cubicBezTo>
                  <a:cubicBezTo>
                    <a:pt x="1060" y="138"/>
                    <a:pt x="1060" y="133"/>
                    <a:pt x="1075" y="133"/>
                  </a:cubicBezTo>
                  <a:cubicBezTo>
                    <a:pt x="1091" y="133"/>
                    <a:pt x="1085" y="135"/>
                    <a:pt x="1098" y="134"/>
                  </a:cubicBezTo>
                  <a:cubicBezTo>
                    <a:pt x="1110" y="133"/>
                    <a:pt x="1115" y="126"/>
                    <a:pt x="1127" y="122"/>
                  </a:cubicBezTo>
                  <a:cubicBezTo>
                    <a:pt x="1139" y="119"/>
                    <a:pt x="1148" y="116"/>
                    <a:pt x="1152" y="118"/>
                  </a:cubicBezTo>
                  <a:cubicBezTo>
                    <a:pt x="1155" y="120"/>
                    <a:pt x="1161" y="119"/>
                    <a:pt x="1157" y="114"/>
                  </a:cubicBezTo>
                  <a:cubicBezTo>
                    <a:pt x="1154" y="110"/>
                    <a:pt x="1145" y="104"/>
                    <a:pt x="1150" y="103"/>
                  </a:cubicBezTo>
                  <a:close/>
                  <a:moveTo>
                    <a:pt x="252" y="127"/>
                  </a:moveTo>
                  <a:cubicBezTo>
                    <a:pt x="254" y="119"/>
                    <a:pt x="269" y="129"/>
                    <a:pt x="266" y="133"/>
                  </a:cubicBezTo>
                  <a:cubicBezTo>
                    <a:pt x="263" y="138"/>
                    <a:pt x="250" y="133"/>
                    <a:pt x="252" y="127"/>
                  </a:cubicBezTo>
                  <a:close/>
                  <a:moveTo>
                    <a:pt x="316" y="271"/>
                  </a:moveTo>
                  <a:cubicBezTo>
                    <a:pt x="312" y="272"/>
                    <a:pt x="300" y="273"/>
                    <a:pt x="295" y="272"/>
                  </a:cubicBezTo>
                  <a:cubicBezTo>
                    <a:pt x="290" y="272"/>
                    <a:pt x="285" y="266"/>
                    <a:pt x="278" y="265"/>
                  </a:cubicBezTo>
                  <a:cubicBezTo>
                    <a:pt x="271" y="264"/>
                    <a:pt x="263" y="265"/>
                    <a:pt x="260" y="269"/>
                  </a:cubicBezTo>
                  <a:cubicBezTo>
                    <a:pt x="258" y="273"/>
                    <a:pt x="248" y="271"/>
                    <a:pt x="244" y="271"/>
                  </a:cubicBezTo>
                  <a:cubicBezTo>
                    <a:pt x="240" y="271"/>
                    <a:pt x="235" y="277"/>
                    <a:pt x="234" y="275"/>
                  </a:cubicBezTo>
                  <a:cubicBezTo>
                    <a:pt x="234" y="275"/>
                    <a:pt x="237" y="264"/>
                    <a:pt x="234" y="263"/>
                  </a:cubicBezTo>
                  <a:cubicBezTo>
                    <a:pt x="231" y="261"/>
                    <a:pt x="235" y="254"/>
                    <a:pt x="238" y="252"/>
                  </a:cubicBezTo>
                  <a:cubicBezTo>
                    <a:pt x="241" y="249"/>
                    <a:pt x="245" y="243"/>
                    <a:pt x="248" y="237"/>
                  </a:cubicBezTo>
                  <a:cubicBezTo>
                    <a:pt x="251" y="231"/>
                    <a:pt x="255" y="230"/>
                    <a:pt x="258" y="231"/>
                  </a:cubicBezTo>
                  <a:cubicBezTo>
                    <a:pt x="260" y="232"/>
                    <a:pt x="266" y="243"/>
                    <a:pt x="268" y="246"/>
                  </a:cubicBezTo>
                  <a:cubicBezTo>
                    <a:pt x="269" y="250"/>
                    <a:pt x="274" y="245"/>
                    <a:pt x="276" y="244"/>
                  </a:cubicBezTo>
                  <a:cubicBezTo>
                    <a:pt x="278" y="243"/>
                    <a:pt x="282" y="239"/>
                    <a:pt x="282" y="236"/>
                  </a:cubicBezTo>
                  <a:cubicBezTo>
                    <a:pt x="283" y="233"/>
                    <a:pt x="287" y="231"/>
                    <a:pt x="292" y="231"/>
                  </a:cubicBezTo>
                  <a:cubicBezTo>
                    <a:pt x="298" y="231"/>
                    <a:pt x="293" y="236"/>
                    <a:pt x="289" y="237"/>
                  </a:cubicBezTo>
                  <a:cubicBezTo>
                    <a:pt x="286" y="238"/>
                    <a:pt x="288" y="241"/>
                    <a:pt x="294" y="243"/>
                  </a:cubicBezTo>
                  <a:cubicBezTo>
                    <a:pt x="300" y="246"/>
                    <a:pt x="306" y="252"/>
                    <a:pt x="313" y="257"/>
                  </a:cubicBezTo>
                  <a:cubicBezTo>
                    <a:pt x="319" y="261"/>
                    <a:pt x="320" y="269"/>
                    <a:pt x="316" y="271"/>
                  </a:cubicBezTo>
                  <a:close/>
                  <a:moveTo>
                    <a:pt x="397" y="241"/>
                  </a:moveTo>
                  <a:cubicBezTo>
                    <a:pt x="395" y="243"/>
                    <a:pt x="385" y="244"/>
                    <a:pt x="382" y="241"/>
                  </a:cubicBezTo>
                  <a:cubicBezTo>
                    <a:pt x="379" y="237"/>
                    <a:pt x="372" y="241"/>
                    <a:pt x="371" y="248"/>
                  </a:cubicBezTo>
                  <a:cubicBezTo>
                    <a:pt x="371" y="255"/>
                    <a:pt x="373" y="250"/>
                    <a:pt x="377" y="252"/>
                  </a:cubicBezTo>
                  <a:cubicBezTo>
                    <a:pt x="380" y="255"/>
                    <a:pt x="381" y="258"/>
                    <a:pt x="383" y="262"/>
                  </a:cubicBezTo>
                  <a:cubicBezTo>
                    <a:pt x="385" y="266"/>
                    <a:pt x="388" y="265"/>
                    <a:pt x="391" y="268"/>
                  </a:cubicBezTo>
                  <a:cubicBezTo>
                    <a:pt x="394" y="271"/>
                    <a:pt x="384" y="274"/>
                    <a:pt x="388" y="278"/>
                  </a:cubicBezTo>
                  <a:cubicBezTo>
                    <a:pt x="392" y="282"/>
                    <a:pt x="394" y="296"/>
                    <a:pt x="395" y="300"/>
                  </a:cubicBezTo>
                  <a:cubicBezTo>
                    <a:pt x="395" y="304"/>
                    <a:pt x="383" y="305"/>
                    <a:pt x="380" y="305"/>
                  </a:cubicBezTo>
                  <a:cubicBezTo>
                    <a:pt x="376" y="304"/>
                    <a:pt x="365" y="300"/>
                    <a:pt x="362" y="299"/>
                  </a:cubicBezTo>
                  <a:cubicBezTo>
                    <a:pt x="358" y="297"/>
                    <a:pt x="356" y="282"/>
                    <a:pt x="361" y="283"/>
                  </a:cubicBezTo>
                  <a:cubicBezTo>
                    <a:pt x="365" y="283"/>
                    <a:pt x="366" y="282"/>
                    <a:pt x="371" y="276"/>
                  </a:cubicBezTo>
                  <a:cubicBezTo>
                    <a:pt x="377" y="271"/>
                    <a:pt x="364" y="268"/>
                    <a:pt x="360" y="267"/>
                  </a:cubicBezTo>
                  <a:cubicBezTo>
                    <a:pt x="356" y="266"/>
                    <a:pt x="349" y="252"/>
                    <a:pt x="347" y="248"/>
                  </a:cubicBezTo>
                  <a:cubicBezTo>
                    <a:pt x="344" y="244"/>
                    <a:pt x="346" y="237"/>
                    <a:pt x="352" y="232"/>
                  </a:cubicBezTo>
                  <a:cubicBezTo>
                    <a:pt x="355" y="230"/>
                    <a:pt x="364" y="235"/>
                    <a:pt x="368" y="232"/>
                  </a:cubicBezTo>
                  <a:cubicBezTo>
                    <a:pt x="372" y="229"/>
                    <a:pt x="376" y="225"/>
                    <a:pt x="378" y="224"/>
                  </a:cubicBezTo>
                  <a:cubicBezTo>
                    <a:pt x="379" y="223"/>
                    <a:pt x="389" y="226"/>
                    <a:pt x="391" y="230"/>
                  </a:cubicBezTo>
                  <a:cubicBezTo>
                    <a:pt x="393" y="233"/>
                    <a:pt x="399" y="239"/>
                    <a:pt x="397" y="241"/>
                  </a:cubicBezTo>
                  <a:close/>
                  <a:moveTo>
                    <a:pt x="687" y="8"/>
                  </a:moveTo>
                  <a:cubicBezTo>
                    <a:pt x="689" y="4"/>
                    <a:pt x="685" y="3"/>
                    <a:pt x="687" y="8"/>
                  </a:cubicBezTo>
                  <a:close/>
                  <a:moveTo>
                    <a:pt x="379" y="53"/>
                  </a:moveTo>
                  <a:cubicBezTo>
                    <a:pt x="382" y="55"/>
                    <a:pt x="388" y="55"/>
                    <a:pt x="394" y="59"/>
                  </a:cubicBezTo>
                  <a:cubicBezTo>
                    <a:pt x="400" y="63"/>
                    <a:pt x="408" y="64"/>
                    <a:pt x="412" y="60"/>
                  </a:cubicBezTo>
                  <a:cubicBezTo>
                    <a:pt x="415" y="56"/>
                    <a:pt x="412" y="50"/>
                    <a:pt x="410" y="49"/>
                  </a:cubicBezTo>
                  <a:cubicBezTo>
                    <a:pt x="407" y="49"/>
                    <a:pt x="405" y="44"/>
                    <a:pt x="412" y="39"/>
                  </a:cubicBezTo>
                  <a:cubicBezTo>
                    <a:pt x="419" y="35"/>
                    <a:pt x="426" y="30"/>
                    <a:pt x="434" y="28"/>
                  </a:cubicBezTo>
                  <a:cubicBezTo>
                    <a:pt x="442" y="27"/>
                    <a:pt x="459" y="27"/>
                    <a:pt x="465" y="28"/>
                  </a:cubicBezTo>
                  <a:cubicBezTo>
                    <a:pt x="472" y="30"/>
                    <a:pt x="481" y="20"/>
                    <a:pt x="483" y="16"/>
                  </a:cubicBezTo>
                  <a:cubicBezTo>
                    <a:pt x="486" y="12"/>
                    <a:pt x="475" y="9"/>
                    <a:pt x="472" y="14"/>
                  </a:cubicBezTo>
                  <a:cubicBezTo>
                    <a:pt x="469" y="19"/>
                    <a:pt x="454" y="17"/>
                    <a:pt x="451" y="16"/>
                  </a:cubicBezTo>
                  <a:cubicBezTo>
                    <a:pt x="448" y="15"/>
                    <a:pt x="423" y="21"/>
                    <a:pt x="418" y="21"/>
                  </a:cubicBezTo>
                  <a:cubicBezTo>
                    <a:pt x="413" y="21"/>
                    <a:pt x="411" y="28"/>
                    <a:pt x="403" y="32"/>
                  </a:cubicBezTo>
                  <a:cubicBezTo>
                    <a:pt x="396" y="36"/>
                    <a:pt x="386" y="41"/>
                    <a:pt x="383" y="43"/>
                  </a:cubicBezTo>
                  <a:cubicBezTo>
                    <a:pt x="379" y="45"/>
                    <a:pt x="376" y="52"/>
                    <a:pt x="379" y="53"/>
                  </a:cubicBezTo>
                  <a:close/>
                  <a:moveTo>
                    <a:pt x="931" y="263"/>
                  </a:moveTo>
                  <a:cubicBezTo>
                    <a:pt x="938" y="263"/>
                    <a:pt x="945" y="260"/>
                    <a:pt x="945" y="260"/>
                  </a:cubicBezTo>
                  <a:cubicBezTo>
                    <a:pt x="945" y="260"/>
                    <a:pt x="955" y="261"/>
                    <a:pt x="954" y="255"/>
                  </a:cubicBezTo>
                  <a:cubicBezTo>
                    <a:pt x="952" y="249"/>
                    <a:pt x="941" y="248"/>
                    <a:pt x="939" y="249"/>
                  </a:cubicBezTo>
                  <a:cubicBezTo>
                    <a:pt x="937" y="249"/>
                    <a:pt x="933" y="242"/>
                    <a:pt x="929" y="243"/>
                  </a:cubicBezTo>
                  <a:cubicBezTo>
                    <a:pt x="925" y="244"/>
                    <a:pt x="924" y="251"/>
                    <a:pt x="924" y="252"/>
                  </a:cubicBezTo>
                  <a:cubicBezTo>
                    <a:pt x="924" y="254"/>
                    <a:pt x="909" y="258"/>
                    <a:pt x="914" y="263"/>
                  </a:cubicBezTo>
                  <a:cubicBezTo>
                    <a:pt x="919" y="268"/>
                    <a:pt x="923" y="264"/>
                    <a:pt x="931" y="263"/>
                  </a:cubicBezTo>
                  <a:close/>
                  <a:moveTo>
                    <a:pt x="867" y="332"/>
                  </a:moveTo>
                  <a:cubicBezTo>
                    <a:pt x="867" y="326"/>
                    <a:pt x="874" y="332"/>
                    <a:pt x="878" y="332"/>
                  </a:cubicBezTo>
                  <a:cubicBezTo>
                    <a:pt x="882" y="331"/>
                    <a:pt x="884" y="327"/>
                    <a:pt x="885" y="322"/>
                  </a:cubicBezTo>
                  <a:cubicBezTo>
                    <a:pt x="885" y="321"/>
                    <a:pt x="885" y="321"/>
                    <a:pt x="885" y="321"/>
                  </a:cubicBezTo>
                  <a:cubicBezTo>
                    <a:pt x="885" y="322"/>
                    <a:pt x="885" y="325"/>
                    <a:pt x="889" y="326"/>
                  </a:cubicBezTo>
                  <a:cubicBezTo>
                    <a:pt x="895" y="328"/>
                    <a:pt x="898" y="323"/>
                    <a:pt x="898" y="321"/>
                  </a:cubicBezTo>
                  <a:cubicBezTo>
                    <a:pt x="898" y="319"/>
                    <a:pt x="909" y="316"/>
                    <a:pt x="911" y="315"/>
                  </a:cubicBezTo>
                  <a:cubicBezTo>
                    <a:pt x="913" y="313"/>
                    <a:pt x="921" y="310"/>
                    <a:pt x="922" y="307"/>
                  </a:cubicBezTo>
                  <a:cubicBezTo>
                    <a:pt x="922" y="305"/>
                    <a:pt x="922" y="291"/>
                    <a:pt x="924" y="290"/>
                  </a:cubicBezTo>
                  <a:cubicBezTo>
                    <a:pt x="927" y="288"/>
                    <a:pt x="931" y="288"/>
                    <a:pt x="926" y="280"/>
                  </a:cubicBezTo>
                  <a:cubicBezTo>
                    <a:pt x="922" y="271"/>
                    <a:pt x="922" y="263"/>
                    <a:pt x="917" y="267"/>
                  </a:cubicBezTo>
                  <a:cubicBezTo>
                    <a:pt x="913" y="270"/>
                    <a:pt x="916" y="280"/>
                    <a:pt x="913" y="288"/>
                  </a:cubicBezTo>
                  <a:cubicBezTo>
                    <a:pt x="909" y="295"/>
                    <a:pt x="907" y="302"/>
                    <a:pt x="905" y="302"/>
                  </a:cubicBezTo>
                  <a:cubicBezTo>
                    <a:pt x="903" y="302"/>
                    <a:pt x="892" y="307"/>
                    <a:pt x="889" y="310"/>
                  </a:cubicBezTo>
                  <a:cubicBezTo>
                    <a:pt x="886" y="314"/>
                    <a:pt x="871" y="307"/>
                    <a:pt x="869" y="310"/>
                  </a:cubicBezTo>
                  <a:cubicBezTo>
                    <a:pt x="867" y="313"/>
                    <a:pt x="862" y="317"/>
                    <a:pt x="860" y="319"/>
                  </a:cubicBezTo>
                  <a:cubicBezTo>
                    <a:pt x="857" y="322"/>
                    <a:pt x="850" y="320"/>
                    <a:pt x="852" y="327"/>
                  </a:cubicBezTo>
                  <a:cubicBezTo>
                    <a:pt x="853" y="335"/>
                    <a:pt x="857" y="341"/>
                    <a:pt x="860" y="341"/>
                  </a:cubicBezTo>
                  <a:cubicBezTo>
                    <a:pt x="863" y="341"/>
                    <a:pt x="867" y="339"/>
                    <a:pt x="867" y="332"/>
                  </a:cubicBezTo>
                  <a:close/>
                  <a:moveTo>
                    <a:pt x="797" y="407"/>
                  </a:moveTo>
                  <a:cubicBezTo>
                    <a:pt x="804" y="407"/>
                    <a:pt x="810" y="386"/>
                    <a:pt x="804" y="387"/>
                  </a:cubicBezTo>
                  <a:cubicBezTo>
                    <a:pt x="796" y="389"/>
                    <a:pt x="791" y="408"/>
                    <a:pt x="797" y="407"/>
                  </a:cubicBezTo>
                  <a:close/>
                  <a:moveTo>
                    <a:pt x="711" y="589"/>
                  </a:moveTo>
                  <a:cubicBezTo>
                    <a:pt x="714" y="585"/>
                    <a:pt x="713" y="580"/>
                    <a:pt x="709" y="581"/>
                  </a:cubicBezTo>
                  <a:cubicBezTo>
                    <a:pt x="704" y="581"/>
                    <a:pt x="701" y="573"/>
                    <a:pt x="694" y="567"/>
                  </a:cubicBezTo>
                  <a:cubicBezTo>
                    <a:pt x="687" y="562"/>
                    <a:pt x="682" y="558"/>
                    <a:pt x="676" y="550"/>
                  </a:cubicBezTo>
                  <a:cubicBezTo>
                    <a:pt x="670" y="542"/>
                    <a:pt x="662" y="537"/>
                    <a:pt x="658" y="533"/>
                  </a:cubicBezTo>
                  <a:cubicBezTo>
                    <a:pt x="654" y="529"/>
                    <a:pt x="648" y="527"/>
                    <a:pt x="645" y="527"/>
                  </a:cubicBezTo>
                  <a:cubicBezTo>
                    <a:pt x="639" y="529"/>
                    <a:pt x="654" y="542"/>
                    <a:pt x="656" y="544"/>
                  </a:cubicBezTo>
                  <a:cubicBezTo>
                    <a:pt x="657" y="546"/>
                    <a:pt x="671" y="560"/>
                    <a:pt x="671" y="567"/>
                  </a:cubicBezTo>
                  <a:cubicBezTo>
                    <a:pt x="671" y="573"/>
                    <a:pt x="676" y="594"/>
                    <a:pt x="678" y="597"/>
                  </a:cubicBezTo>
                  <a:cubicBezTo>
                    <a:pt x="681" y="599"/>
                    <a:pt x="699" y="603"/>
                    <a:pt x="701" y="608"/>
                  </a:cubicBezTo>
                  <a:cubicBezTo>
                    <a:pt x="703" y="613"/>
                    <a:pt x="708" y="614"/>
                    <a:pt x="708" y="607"/>
                  </a:cubicBezTo>
                  <a:cubicBezTo>
                    <a:pt x="708" y="601"/>
                    <a:pt x="709" y="593"/>
                    <a:pt x="711" y="589"/>
                  </a:cubicBezTo>
                  <a:close/>
                  <a:moveTo>
                    <a:pt x="672" y="520"/>
                  </a:moveTo>
                  <a:cubicBezTo>
                    <a:pt x="674" y="531"/>
                    <a:pt x="680" y="542"/>
                    <a:pt x="682" y="546"/>
                  </a:cubicBezTo>
                  <a:cubicBezTo>
                    <a:pt x="684" y="551"/>
                    <a:pt x="693" y="557"/>
                    <a:pt x="696" y="560"/>
                  </a:cubicBezTo>
                  <a:cubicBezTo>
                    <a:pt x="699" y="563"/>
                    <a:pt x="703" y="559"/>
                    <a:pt x="701" y="555"/>
                  </a:cubicBezTo>
                  <a:cubicBezTo>
                    <a:pt x="699" y="551"/>
                    <a:pt x="695" y="546"/>
                    <a:pt x="695" y="542"/>
                  </a:cubicBezTo>
                  <a:cubicBezTo>
                    <a:pt x="694" y="537"/>
                    <a:pt x="692" y="531"/>
                    <a:pt x="687" y="523"/>
                  </a:cubicBezTo>
                  <a:cubicBezTo>
                    <a:pt x="683" y="516"/>
                    <a:pt x="680" y="514"/>
                    <a:pt x="677" y="509"/>
                  </a:cubicBezTo>
                  <a:cubicBezTo>
                    <a:pt x="674" y="504"/>
                    <a:pt x="665" y="495"/>
                    <a:pt x="665" y="495"/>
                  </a:cubicBezTo>
                  <a:cubicBezTo>
                    <a:pt x="661" y="496"/>
                    <a:pt x="661" y="505"/>
                    <a:pt x="663" y="508"/>
                  </a:cubicBezTo>
                  <a:cubicBezTo>
                    <a:pt x="665" y="511"/>
                    <a:pt x="669" y="509"/>
                    <a:pt x="672" y="520"/>
                  </a:cubicBezTo>
                  <a:close/>
                  <a:moveTo>
                    <a:pt x="754" y="619"/>
                  </a:moveTo>
                  <a:cubicBezTo>
                    <a:pt x="751" y="619"/>
                    <a:pt x="738" y="615"/>
                    <a:pt x="738" y="615"/>
                  </a:cubicBezTo>
                  <a:cubicBezTo>
                    <a:pt x="736" y="616"/>
                    <a:pt x="733" y="617"/>
                    <a:pt x="732" y="619"/>
                  </a:cubicBezTo>
                  <a:cubicBezTo>
                    <a:pt x="732" y="618"/>
                    <a:pt x="731" y="618"/>
                    <a:pt x="730" y="617"/>
                  </a:cubicBezTo>
                  <a:cubicBezTo>
                    <a:pt x="725" y="613"/>
                    <a:pt x="718" y="617"/>
                    <a:pt x="716" y="612"/>
                  </a:cubicBezTo>
                  <a:cubicBezTo>
                    <a:pt x="714" y="607"/>
                    <a:pt x="711" y="607"/>
                    <a:pt x="709" y="610"/>
                  </a:cubicBezTo>
                  <a:cubicBezTo>
                    <a:pt x="705" y="616"/>
                    <a:pt x="710" y="620"/>
                    <a:pt x="711" y="621"/>
                  </a:cubicBezTo>
                  <a:cubicBezTo>
                    <a:pt x="713" y="623"/>
                    <a:pt x="718" y="624"/>
                    <a:pt x="724" y="623"/>
                  </a:cubicBezTo>
                  <a:cubicBezTo>
                    <a:pt x="727" y="623"/>
                    <a:pt x="731" y="622"/>
                    <a:pt x="732" y="621"/>
                  </a:cubicBezTo>
                  <a:cubicBezTo>
                    <a:pt x="732" y="621"/>
                    <a:pt x="733" y="622"/>
                    <a:pt x="733" y="623"/>
                  </a:cubicBezTo>
                  <a:cubicBezTo>
                    <a:pt x="737" y="627"/>
                    <a:pt x="740" y="629"/>
                    <a:pt x="746" y="628"/>
                  </a:cubicBezTo>
                  <a:cubicBezTo>
                    <a:pt x="752" y="628"/>
                    <a:pt x="762" y="632"/>
                    <a:pt x="762" y="628"/>
                  </a:cubicBezTo>
                  <a:cubicBezTo>
                    <a:pt x="763" y="624"/>
                    <a:pt x="757" y="619"/>
                    <a:pt x="754" y="619"/>
                  </a:cubicBezTo>
                  <a:close/>
                  <a:moveTo>
                    <a:pt x="789" y="635"/>
                  </a:moveTo>
                  <a:cubicBezTo>
                    <a:pt x="788" y="641"/>
                    <a:pt x="797" y="643"/>
                    <a:pt x="797" y="637"/>
                  </a:cubicBezTo>
                  <a:cubicBezTo>
                    <a:pt x="798" y="631"/>
                    <a:pt x="790" y="631"/>
                    <a:pt x="789" y="635"/>
                  </a:cubicBezTo>
                  <a:close/>
                  <a:moveTo>
                    <a:pt x="825" y="626"/>
                  </a:moveTo>
                  <a:cubicBezTo>
                    <a:pt x="822" y="631"/>
                    <a:pt x="816" y="635"/>
                    <a:pt x="816" y="640"/>
                  </a:cubicBezTo>
                  <a:cubicBezTo>
                    <a:pt x="817" y="646"/>
                    <a:pt x="828" y="636"/>
                    <a:pt x="828" y="636"/>
                  </a:cubicBezTo>
                  <a:cubicBezTo>
                    <a:pt x="828" y="636"/>
                    <a:pt x="836" y="635"/>
                    <a:pt x="836" y="631"/>
                  </a:cubicBezTo>
                  <a:cubicBezTo>
                    <a:pt x="836" y="626"/>
                    <a:pt x="828" y="621"/>
                    <a:pt x="825" y="626"/>
                  </a:cubicBezTo>
                  <a:close/>
                  <a:moveTo>
                    <a:pt x="807" y="581"/>
                  </a:moveTo>
                  <a:cubicBezTo>
                    <a:pt x="814" y="582"/>
                    <a:pt x="818" y="579"/>
                    <a:pt x="816" y="575"/>
                  </a:cubicBezTo>
                  <a:cubicBezTo>
                    <a:pt x="814" y="571"/>
                    <a:pt x="805" y="573"/>
                    <a:pt x="801" y="574"/>
                  </a:cubicBezTo>
                  <a:cubicBezTo>
                    <a:pt x="798" y="574"/>
                    <a:pt x="794" y="571"/>
                    <a:pt x="794" y="571"/>
                  </a:cubicBezTo>
                  <a:cubicBezTo>
                    <a:pt x="791" y="573"/>
                    <a:pt x="791" y="576"/>
                    <a:pt x="790" y="582"/>
                  </a:cubicBezTo>
                  <a:cubicBezTo>
                    <a:pt x="789" y="588"/>
                    <a:pt x="784" y="592"/>
                    <a:pt x="789" y="595"/>
                  </a:cubicBezTo>
                  <a:cubicBezTo>
                    <a:pt x="793" y="598"/>
                    <a:pt x="800" y="585"/>
                    <a:pt x="803" y="589"/>
                  </a:cubicBezTo>
                  <a:cubicBezTo>
                    <a:pt x="805" y="593"/>
                    <a:pt x="802" y="595"/>
                    <a:pt x="806" y="601"/>
                  </a:cubicBezTo>
                  <a:cubicBezTo>
                    <a:pt x="809" y="606"/>
                    <a:pt x="816" y="606"/>
                    <a:pt x="816" y="606"/>
                  </a:cubicBezTo>
                  <a:cubicBezTo>
                    <a:pt x="816" y="606"/>
                    <a:pt x="815" y="591"/>
                    <a:pt x="810" y="587"/>
                  </a:cubicBezTo>
                  <a:cubicBezTo>
                    <a:pt x="804" y="584"/>
                    <a:pt x="800" y="579"/>
                    <a:pt x="807" y="581"/>
                  </a:cubicBezTo>
                  <a:close/>
                  <a:moveTo>
                    <a:pt x="808" y="560"/>
                  </a:moveTo>
                  <a:cubicBezTo>
                    <a:pt x="806" y="561"/>
                    <a:pt x="797" y="559"/>
                    <a:pt x="797" y="559"/>
                  </a:cubicBezTo>
                  <a:cubicBezTo>
                    <a:pt x="793" y="563"/>
                    <a:pt x="796" y="568"/>
                    <a:pt x="801" y="567"/>
                  </a:cubicBezTo>
                  <a:cubicBezTo>
                    <a:pt x="807" y="567"/>
                    <a:pt x="819" y="565"/>
                    <a:pt x="822" y="565"/>
                  </a:cubicBezTo>
                  <a:cubicBezTo>
                    <a:pt x="824" y="565"/>
                    <a:pt x="828" y="557"/>
                    <a:pt x="826" y="557"/>
                  </a:cubicBezTo>
                  <a:cubicBezTo>
                    <a:pt x="824" y="557"/>
                    <a:pt x="809" y="560"/>
                    <a:pt x="808" y="560"/>
                  </a:cubicBezTo>
                  <a:close/>
                  <a:moveTo>
                    <a:pt x="850" y="551"/>
                  </a:moveTo>
                  <a:cubicBezTo>
                    <a:pt x="845" y="548"/>
                    <a:pt x="836" y="571"/>
                    <a:pt x="842" y="573"/>
                  </a:cubicBezTo>
                  <a:cubicBezTo>
                    <a:pt x="848" y="574"/>
                    <a:pt x="853" y="552"/>
                    <a:pt x="850" y="551"/>
                  </a:cubicBezTo>
                  <a:close/>
                  <a:moveTo>
                    <a:pt x="781" y="538"/>
                  </a:moveTo>
                  <a:cubicBezTo>
                    <a:pt x="784" y="534"/>
                    <a:pt x="789" y="533"/>
                    <a:pt x="789" y="530"/>
                  </a:cubicBezTo>
                  <a:cubicBezTo>
                    <a:pt x="789" y="527"/>
                    <a:pt x="780" y="538"/>
                    <a:pt x="779" y="518"/>
                  </a:cubicBezTo>
                  <a:cubicBezTo>
                    <a:pt x="779" y="514"/>
                    <a:pt x="771" y="520"/>
                    <a:pt x="770" y="524"/>
                  </a:cubicBezTo>
                  <a:cubicBezTo>
                    <a:pt x="769" y="528"/>
                    <a:pt x="776" y="532"/>
                    <a:pt x="766" y="532"/>
                  </a:cubicBezTo>
                  <a:cubicBezTo>
                    <a:pt x="756" y="532"/>
                    <a:pt x="756" y="541"/>
                    <a:pt x="753" y="543"/>
                  </a:cubicBezTo>
                  <a:cubicBezTo>
                    <a:pt x="751" y="545"/>
                    <a:pt x="749" y="545"/>
                    <a:pt x="745" y="546"/>
                  </a:cubicBezTo>
                  <a:cubicBezTo>
                    <a:pt x="741" y="548"/>
                    <a:pt x="740" y="552"/>
                    <a:pt x="739" y="556"/>
                  </a:cubicBezTo>
                  <a:cubicBezTo>
                    <a:pt x="738" y="559"/>
                    <a:pt x="731" y="550"/>
                    <a:pt x="729" y="552"/>
                  </a:cubicBezTo>
                  <a:cubicBezTo>
                    <a:pt x="727" y="555"/>
                    <a:pt x="728" y="567"/>
                    <a:pt x="732" y="576"/>
                  </a:cubicBezTo>
                  <a:cubicBezTo>
                    <a:pt x="735" y="586"/>
                    <a:pt x="745" y="592"/>
                    <a:pt x="747" y="592"/>
                  </a:cubicBezTo>
                  <a:cubicBezTo>
                    <a:pt x="750" y="592"/>
                    <a:pt x="755" y="592"/>
                    <a:pt x="759" y="593"/>
                  </a:cubicBezTo>
                  <a:cubicBezTo>
                    <a:pt x="762" y="595"/>
                    <a:pt x="774" y="596"/>
                    <a:pt x="774" y="590"/>
                  </a:cubicBezTo>
                  <a:cubicBezTo>
                    <a:pt x="773" y="585"/>
                    <a:pt x="772" y="576"/>
                    <a:pt x="777" y="571"/>
                  </a:cubicBezTo>
                  <a:cubicBezTo>
                    <a:pt x="782" y="565"/>
                    <a:pt x="788" y="562"/>
                    <a:pt x="785" y="554"/>
                  </a:cubicBezTo>
                  <a:cubicBezTo>
                    <a:pt x="782" y="546"/>
                    <a:pt x="777" y="542"/>
                    <a:pt x="781" y="538"/>
                  </a:cubicBezTo>
                  <a:close/>
                  <a:moveTo>
                    <a:pt x="792" y="457"/>
                  </a:moveTo>
                  <a:cubicBezTo>
                    <a:pt x="795" y="464"/>
                    <a:pt x="806" y="470"/>
                    <a:pt x="803" y="473"/>
                  </a:cubicBezTo>
                  <a:cubicBezTo>
                    <a:pt x="800" y="476"/>
                    <a:pt x="793" y="482"/>
                    <a:pt x="792" y="487"/>
                  </a:cubicBezTo>
                  <a:cubicBezTo>
                    <a:pt x="791" y="493"/>
                    <a:pt x="804" y="479"/>
                    <a:pt x="808" y="473"/>
                  </a:cubicBezTo>
                  <a:cubicBezTo>
                    <a:pt x="811" y="468"/>
                    <a:pt x="819" y="471"/>
                    <a:pt x="820" y="468"/>
                  </a:cubicBezTo>
                  <a:cubicBezTo>
                    <a:pt x="822" y="465"/>
                    <a:pt x="822" y="465"/>
                    <a:pt x="822" y="465"/>
                  </a:cubicBezTo>
                  <a:cubicBezTo>
                    <a:pt x="822" y="465"/>
                    <a:pt x="816" y="463"/>
                    <a:pt x="811" y="462"/>
                  </a:cubicBezTo>
                  <a:cubicBezTo>
                    <a:pt x="807" y="460"/>
                    <a:pt x="801" y="466"/>
                    <a:pt x="804" y="457"/>
                  </a:cubicBezTo>
                  <a:cubicBezTo>
                    <a:pt x="806" y="447"/>
                    <a:pt x="814" y="449"/>
                    <a:pt x="812" y="441"/>
                  </a:cubicBezTo>
                  <a:cubicBezTo>
                    <a:pt x="811" y="434"/>
                    <a:pt x="806" y="432"/>
                    <a:pt x="804" y="432"/>
                  </a:cubicBezTo>
                  <a:cubicBezTo>
                    <a:pt x="800" y="432"/>
                    <a:pt x="805" y="439"/>
                    <a:pt x="799" y="443"/>
                  </a:cubicBezTo>
                  <a:cubicBezTo>
                    <a:pt x="794" y="448"/>
                    <a:pt x="789" y="449"/>
                    <a:pt x="792" y="457"/>
                  </a:cubicBezTo>
                  <a:close/>
                  <a:moveTo>
                    <a:pt x="808" y="497"/>
                  </a:moveTo>
                  <a:cubicBezTo>
                    <a:pt x="814" y="497"/>
                    <a:pt x="824" y="499"/>
                    <a:pt x="822" y="496"/>
                  </a:cubicBezTo>
                  <a:cubicBezTo>
                    <a:pt x="820" y="493"/>
                    <a:pt x="814" y="483"/>
                    <a:pt x="809" y="485"/>
                  </a:cubicBezTo>
                  <a:cubicBezTo>
                    <a:pt x="807" y="486"/>
                    <a:pt x="803" y="497"/>
                    <a:pt x="808" y="497"/>
                  </a:cubicBezTo>
                  <a:close/>
                  <a:moveTo>
                    <a:pt x="826" y="476"/>
                  </a:moveTo>
                  <a:cubicBezTo>
                    <a:pt x="824" y="476"/>
                    <a:pt x="817" y="489"/>
                    <a:pt x="826" y="488"/>
                  </a:cubicBezTo>
                  <a:cubicBezTo>
                    <a:pt x="836" y="488"/>
                    <a:pt x="833" y="477"/>
                    <a:pt x="826" y="476"/>
                  </a:cubicBezTo>
                  <a:close/>
                  <a:moveTo>
                    <a:pt x="836" y="509"/>
                  </a:moveTo>
                  <a:cubicBezTo>
                    <a:pt x="834" y="505"/>
                    <a:pt x="827" y="499"/>
                    <a:pt x="827" y="499"/>
                  </a:cubicBezTo>
                  <a:cubicBezTo>
                    <a:pt x="820" y="510"/>
                    <a:pt x="821" y="507"/>
                    <a:pt x="815" y="505"/>
                  </a:cubicBezTo>
                  <a:cubicBezTo>
                    <a:pt x="810" y="502"/>
                    <a:pt x="802" y="510"/>
                    <a:pt x="804" y="513"/>
                  </a:cubicBezTo>
                  <a:cubicBezTo>
                    <a:pt x="805" y="517"/>
                    <a:pt x="816" y="513"/>
                    <a:pt x="819" y="518"/>
                  </a:cubicBezTo>
                  <a:cubicBezTo>
                    <a:pt x="822" y="524"/>
                    <a:pt x="822" y="524"/>
                    <a:pt x="827" y="523"/>
                  </a:cubicBezTo>
                  <a:cubicBezTo>
                    <a:pt x="832" y="522"/>
                    <a:pt x="837" y="513"/>
                    <a:pt x="836" y="509"/>
                  </a:cubicBezTo>
                  <a:close/>
                  <a:moveTo>
                    <a:pt x="970" y="628"/>
                  </a:moveTo>
                  <a:cubicBezTo>
                    <a:pt x="966" y="626"/>
                    <a:pt x="959" y="615"/>
                    <a:pt x="959" y="611"/>
                  </a:cubicBezTo>
                  <a:cubicBezTo>
                    <a:pt x="959" y="607"/>
                    <a:pt x="953" y="606"/>
                    <a:pt x="950" y="603"/>
                  </a:cubicBezTo>
                  <a:cubicBezTo>
                    <a:pt x="947" y="599"/>
                    <a:pt x="944" y="591"/>
                    <a:pt x="936" y="589"/>
                  </a:cubicBezTo>
                  <a:cubicBezTo>
                    <a:pt x="929" y="587"/>
                    <a:pt x="926" y="584"/>
                    <a:pt x="918" y="579"/>
                  </a:cubicBezTo>
                  <a:cubicBezTo>
                    <a:pt x="910" y="574"/>
                    <a:pt x="891" y="574"/>
                    <a:pt x="891" y="578"/>
                  </a:cubicBezTo>
                  <a:cubicBezTo>
                    <a:pt x="890" y="581"/>
                    <a:pt x="891" y="578"/>
                    <a:pt x="885" y="575"/>
                  </a:cubicBezTo>
                  <a:cubicBezTo>
                    <a:pt x="878" y="573"/>
                    <a:pt x="874" y="575"/>
                    <a:pt x="872" y="571"/>
                  </a:cubicBezTo>
                  <a:cubicBezTo>
                    <a:pt x="871" y="567"/>
                    <a:pt x="867" y="565"/>
                    <a:pt x="862" y="571"/>
                  </a:cubicBezTo>
                  <a:cubicBezTo>
                    <a:pt x="859" y="575"/>
                    <a:pt x="857" y="576"/>
                    <a:pt x="866" y="578"/>
                  </a:cubicBezTo>
                  <a:cubicBezTo>
                    <a:pt x="874" y="579"/>
                    <a:pt x="877" y="579"/>
                    <a:pt x="873" y="584"/>
                  </a:cubicBezTo>
                  <a:cubicBezTo>
                    <a:pt x="870" y="589"/>
                    <a:pt x="867" y="595"/>
                    <a:pt x="870" y="596"/>
                  </a:cubicBezTo>
                  <a:cubicBezTo>
                    <a:pt x="873" y="596"/>
                    <a:pt x="883" y="593"/>
                    <a:pt x="884" y="596"/>
                  </a:cubicBezTo>
                  <a:cubicBezTo>
                    <a:pt x="885" y="598"/>
                    <a:pt x="882" y="599"/>
                    <a:pt x="892" y="601"/>
                  </a:cubicBezTo>
                  <a:cubicBezTo>
                    <a:pt x="902" y="603"/>
                    <a:pt x="904" y="607"/>
                    <a:pt x="906" y="609"/>
                  </a:cubicBezTo>
                  <a:cubicBezTo>
                    <a:pt x="908" y="612"/>
                    <a:pt x="915" y="620"/>
                    <a:pt x="910" y="620"/>
                  </a:cubicBezTo>
                  <a:cubicBezTo>
                    <a:pt x="906" y="620"/>
                    <a:pt x="902" y="626"/>
                    <a:pt x="905" y="626"/>
                  </a:cubicBezTo>
                  <a:cubicBezTo>
                    <a:pt x="908" y="627"/>
                    <a:pt x="917" y="624"/>
                    <a:pt x="918" y="626"/>
                  </a:cubicBezTo>
                  <a:cubicBezTo>
                    <a:pt x="918" y="628"/>
                    <a:pt x="923" y="640"/>
                    <a:pt x="929" y="639"/>
                  </a:cubicBezTo>
                  <a:cubicBezTo>
                    <a:pt x="934" y="639"/>
                    <a:pt x="937" y="628"/>
                    <a:pt x="939" y="624"/>
                  </a:cubicBezTo>
                  <a:cubicBezTo>
                    <a:pt x="942" y="621"/>
                    <a:pt x="952" y="620"/>
                    <a:pt x="953" y="625"/>
                  </a:cubicBezTo>
                  <a:cubicBezTo>
                    <a:pt x="954" y="631"/>
                    <a:pt x="957" y="636"/>
                    <a:pt x="964" y="640"/>
                  </a:cubicBezTo>
                  <a:cubicBezTo>
                    <a:pt x="970" y="643"/>
                    <a:pt x="977" y="647"/>
                    <a:pt x="978" y="644"/>
                  </a:cubicBezTo>
                  <a:cubicBezTo>
                    <a:pt x="978" y="641"/>
                    <a:pt x="974" y="629"/>
                    <a:pt x="970" y="6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2B2F295-4A6E-4EBC-9278-BDDD729121D4}"/>
              </a:ext>
            </a:extLst>
          </p:cNvPr>
          <p:cNvSpPr/>
          <p:nvPr/>
        </p:nvSpPr>
        <p:spPr>
          <a:xfrm>
            <a:off x="2268463" y="2997342"/>
            <a:ext cx="3414867" cy="863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000"/>
              </a:lnSpc>
            </a:pPr>
            <a:r>
              <a:rPr lang="en-US" sz="2000" dirty="0">
                <a:solidFill>
                  <a:srgbClr val="E24D29"/>
                </a:solidFill>
                <a:latin typeface="Open Sans" panose="020B0606030504020204"/>
              </a:rPr>
              <a:t>engage in social content without being negatively triggered.</a:t>
            </a:r>
            <a:endParaRPr lang="en-US" sz="2000" dirty="0">
              <a:solidFill>
                <a:srgbClr val="E24D29"/>
              </a:solidFill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D698733-BAD8-4A78-8BF5-FE987E5FDC3F}"/>
              </a:ext>
            </a:extLst>
          </p:cNvPr>
          <p:cNvCxnSpPr>
            <a:cxnSpLocks/>
          </p:cNvCxnSpPr>
          <p:nvPr/>
        </p:nvCxnSpPr>
        <p:spPr>
          <a:xfrm>
            <a:off x="5840114" y="2487279"/>
            <a:ext cx="0" cy="1883441"/>
          </a:xfrm>
          <a:prstGeom prst="line">
            <a:avLst/>
          </a:prstGeom>
          <a:ln w="28575">
            <a:solidFill>
              <a:srgbClr val="E14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3DA5168-93DA-43A0-B2C8-EA5CD80F969A}"/>
              </a:ext>
            </a:extLst>
          </p:cNvPr>
          <p:cNvSpPr txBox="1"/>
          <p:nvPr/>
        </p:nvSpPr>
        <p:spPr>
          <a:xfrm>
            <a:off x="5996899" y="3139177"/>
            <a:ext cx="3940339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4000" b="1" spc="300" dirty="0">
                <a:solidFill>
                  <a:srgbClr val="E1441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PIRATION</a:t>
            </a:r>
          </a:p>
        </p:txBody>
      </p:sp>
    </p:spTree>
    <p:extLst>
      <p:ext uri="{BB962C8B-B14F-4D97-AF65-F5344CB8AC3E}">
        <p14:creationId xmlns:p14="http://schemas.microsoft.com/office/powerpoint/2010/main" val="3822327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5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5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4" fill="hold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6" grpId="1"/>
      <p:bldP spid="28" grpId="0"/>
      <p:bldP spid="28" grpId="1"/>
      <p:bldP spid="28" grpId="2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B9AEA56-B499-4070-BBCF-F2D205A51FE3}"/>
              </a:ext>
            </a:extLst>
          </p:cNvPr>
          <p:cNvGrpSpPr/>
          <p:nvPr/>
        </p:nvGrpSpPr>
        <p:grpSpPr>
          <a:xfrm>
            <a:off x="1447546" y="2487279"/>
            <a:ext cx="1136808" cy="1883441"/>
            <a:chOff x="3870032" y="1946452"/>
            <a:chExt cx="1887452" cy="3127092"/>
          </a:xfrm>
          <a:effectLst/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ED611E9-51C2-453E-8D41-D1420123B907}"/>
                </a:ext>
              </a:extLst>
            </p:cNvPr>
            <p:cNvCxnSpPr/>
            <p:nvPr/>
          </p:nvCxnSpPr>
          <p:spPr>
            <a:xfrm flipV="1">
              <a:off x="5301047" y="3025923"/>
              <a:ext cx="430330" cy="206175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424AE7F-BBCD-49AF-BF6D-A13A5BA59830}"/>
                </a:ext>
              </a:extLst>
            </p:cNvPr>
            <p:cNvCxnSpPr/>
            <p:nvPr/>
          </p:nvCxnSpPr>
          <p:spPr>
            <a:xfrm>
              <a:off x="4065759" y="3308831"/>
              <a:ext cx="270742" cy="57097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B2F301F-4725-4E6E-99CC-F7406A878B54}"/>
                </a:ext>
              </a:extLst>
            </p:cNvPr>
            <p:cNvCxnSpPr/>
            <p:nvPr/>
          </p:nvCxnSpPr>
          <p:spPr>
            <a:xfrm>
              <a:off x="4466484" y="3081134"/>
              <a:ext cx="47592" cy="41527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6D670F7-A94D-4EBE-9B0E-1CCC56561A8D}"/>
                </a:ext>
              </a:extLst>
            </p:cNvPr>
            <p:cNvCxnSpPr/>
            <p:nvPr/>
          </p:nvCxnSpPr>
          <p:spPr>
            <a:xfrm flipH="1">
              <a:off x="5516796" y="3037374"/>
              <a:ext cx="202700" cy="41527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AEC907C-7F21-4EA8-BB48-6A9FE5089764}"/>
                </a:ext>
              </a:extLst>
            </p:cNvPr>
            <p:cNvCxnSpPr/>
            <p:nvPr/>
          </p:nvCxnSpPr>
          <p:spPr>
            <a:xfrm flipH="1">
              <a:off x="5354700" y="3427872"/>
              <a:ext cx="174895" cy="354943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D1845A8-4A8B-477D-A394-C74AAE7A3B0E}"/>
                </a:ext>
              </a:extLst>
            </p:cNvPr>
            <p:cNvCxnSpPr/>
            <p:nvPr/>
          </p:nvCxnSpPr>
          <p:spPr>
            <a:xfrm flipH="1">
              <a:off x="5129839" y="3235896"/>
              <a:ext cx="174893" cy="39422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2C77658-80C0-47DA-AFBB-5012DDA79566}"/>
                </a:ext>
              </a:extLst>
            </p:cNvPr>
            <p:cNvCxnSpPr/>
            <p:nvPr/>
          </p:nvCxnSpPr>
          <p:spPr>
            <a:xfrm flipH="1">
              <a:off x="5310074" y="3776712"/>
              <a:ext cx="44626" cy="354943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307FD00-6EB5-4CC0-AC10-27DC997366AB}"/>
                </a:ext>
              </a:extLst>
            </p:cNvPr>
            <p:cNvCxnSpPr/>
            <p:nvPr/>
          </p:nvCxnSpPr>
          <p:spPr>
            <a:xfrm>
              <a:off x="4336502" y="3873470"/>
              <a:ext cx="88187" cy="31571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A4C91E2-DA1D-4837-8A4B-8B550C9A62F2}"/>
                </a:ext>
              </a:extLst>
            </p:cNvPr>
            <p:cNvCxnSpPr/>
            <p:nvPr/>
          </p:nvCxnSpPr>
          <p:spPr>
            <a:xfrm>
              <a:off x="5680146" y="2524885"/>
              <a:ext cx="32336" cy="51248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E073C09-C1AA-47FE-8048-A0C000E28BC7}"/>
                </a:ext>
              </a:extLst>
            </p:cNvPr>
            <p:cNvCxnSpPr/>
            <p:nvPr/>
          </p:nvCxnSpPr>
          <p:spPr>
            <a:xfrm>
              <a:off x="5394200" y="2201788"/>
              <a:ext cx="302113" cy="32309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5D130D4-8497-46D8-B75F-7C8124DEA8AA}"/>
                </a:ext>
              </a:extLst>
            </p:cNvPr>
            <p:cNvCxnSpPr/>
            <p:nvPr/>
          </p:nvCxnSpPr>
          <p:spPr>
            <a:xfrm>
              <a:off x="4919077" y="1994831"/>
              <a:ext cx="475124" cy="20695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C5779B9E-A0B4-41F4-A7E5-E1A616AA0EAF}"/>
                </a:ext>
              </a:extLst>
            </p:cNvPr>
            <p:cNvCxnSpPr/>
            <p:nvPr/>
          </p:nvCxnSpPr>
          <p:spPr>
            <a:xfrm flipV="1">
              <a:off x="4415275" y="1994831"/>
              <a:ext cx="503802" cy="11406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B17F3B4-C1ED-4C2E-9247-832B20E312F2}"/>
                </a:ext>
              </a:extLst>
            </p:cNvPr>
            <p:cNvCxnSpPr/>
            <p:nvPr/>
          </p:nvCxnSpPr>
          <p:spPr>
            <a:xfrm flipV="1">
              <a:off x="4108091" y="2098309"/>
              <a:ext cx="307184" cy="247715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63B719A-ED64-4FCF-98F6-D702C6A4EF32}"/>
                </a:ext>
              </a:extLst>
            </p:cNvPr>
            <p:cNvCxnSpPr/>
            <p:nvPr/>
          </p:nvCxnSpPr>
          <p:spPr>
            <a:xfrm flipH="1">
              <a:off x="3950819" y="2376851"/>
              <a:ext cx="141103" cy="36504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461F4F5-D676-4766-A8F2-5A4D6C241B7E}"/>
                </a:ext>
              </a:extLst>
            </p:cNvPr>
            <p:cNvCxnSpPr/>
            <p:nvPr/>
          </p:nvCxnSpPr>
          <p:spPr>
            <a:xfrm>
              <a:off x="3943804" y="2741895"/>
              <a:ext cx="121955" cy="56693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7D3AB93-629C-4002-B182-4ED84727EED8}"/>
                </a:ext>
              </a:extLst>
            </p:cNvPr>
            <p:cNvCxnSpPr/>
            <p:nvPr/>
          </p:nvCxnSpPr>
          <p:spPr>
            <a:xfrm flipV="1">
              <a:off x="3981914" y="2704020"/>
              <a:ext cx="388313" cy="3787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050E95A-0293-44C3-8AF5-421F75AEFEB8}"/>
                </a:ext>
              </a:extLst>
            </p:cNvPr>
            <p:cNvCxnSpPr/>
            <p:nvPr/>
          </p:nvCxnSpPr>
          <p:spPr>
            <a:xfrm flipV="1">
              <a:off x="4195484" y="2704020"/>
              <a:ext cx="179590" cy="25823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FFEDEEE-77B2-48FA-8B23-75E2A2F98C02}"/>
                </a:ext>
              </a:extLst>
            </p:cNvPr>
            <p:cNvCxnSpPr/>
            <p:nvPr/>
          </p:nvCxnSpPr>
          <p:spPr>
            <a:xfrm>
              <a:off x="3962717" y="2764356"/>
              <a:ext cx="484699" cy="11921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508A81F-F156-4664-A511-4E0BD2215AF3}"/>
                </a:ext>
              </a:extLst>
            </p:cNvPr>
            <p:cNvCxnSpPr/>
            <p:nvPr/>
          </p:nvCxnSpPr>
          <p:spPr>
            <a:xfrm flipV="1">
              <a:off x="4084672" y="2960924"/>
              <a:ext cx="116458" cy="335308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DC71B0E-B387-4F7F-906A-CBD2C6C30B83}"/>
                </a:ext>
              </a:extLst>
            </p:cNvPr>
            <p:cNvCxnSpPr/>
            <p:nvPr/>
          </p:nvCxnSpPr>
          <p:spPr>
            <a:xfrm>
              <a:off x="3952420" y="2751757"/>
              <a:ext cx="251408" cy="20916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A2A0538-E3B2-4433-BFCB-553892414E8E}"/>
                </a:ext>
              </a:extLst>
            </p:cNvPr>
            <p:cNvCxnSpPr/>
            <p:nvPr/>
          </p:nvCxnSpPr>
          <p:spPr>
            <a:xfrm>
              <a:off x="4443569" y="2883572"/>
              <a:ext cx="35068" cy="22920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BEEAC33-4854-4222-8A74-BD76AA5A40E7}"/>
                </a:ext>
              </a:extLst>
            </p:cNvPr>
            <p:cNvCxnSpPr/>
            <p:nvPr/>
          </p:nvCxnSpPr>
          <p:spPr>
            <a:xfrm flipH="1" flipV="1">
              <a:off x="4122544" y="2346023"/>
              <a:ext cx="256901" cy="35799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BEEC274-49AE-48D6-BA4D-31F25DD357FC}"/>
                </a:ext>
              </a:extLst>
            </p:cNvPr>
            <p:cNvCxnSpPr/>
            <p:nvPr/>
          </p:nvCxnSpPr>
          <p:spPr>
            <a:xfrm flipH="1">
              <a:off x="4364197" y="2136858"/>
              <a:ext cx="29702" cy="56716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6A7689E-B737-42A7-A94D-021902747417}"/>
                </a:ext>
              </a:extLst>
            </p:cNvPr>
            <p:cNvCxnSpPr/>
            <p:nvPr/>
          </p:nvCxnSpPr>
          <p:spPr>
            <a:xfrm flipV="1">
              <a:off x="4372679" y="2484420"/>
              <a:ext cx="338593" cy="21960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997512B-4E9D-442D-AA9E-E241D2FEB18E}"/>
                </a:ext>
              </a:extLst>
            </p:cNvPr>
            <p:cNvCxnSpPr/>
            <p:nvPr/>
          </p:nvCxnSpPr>
          <p:spPr>
            <a:xfrm>
              <a:off x="4429661" y="2131355"/>
              <a:ext cx="280368" cy="362688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9653EFC-84A7-4369-A273-1039A2C7CF31}"/>
                </a:ext>
              </a:extLst>
            </p:cNvPr>
            <p:cNvCxnSpPr/>
            <p:nvPr/>
          </p:nvCxnSpPr>
          <p:spPr>
            <a:xfrm flipH="1">
              <a:off x="4699905" y="1994831"/>
              <a:ext cx="211404" cy="48940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EEAAE11-1B42-40A0-B22F-9BB98E68E32D}"/>
                </a:ext>
              </a:extLst>
            </p:cNvPr>
            <p:cNvCxnSpPr/>
            <p:nvPr/>
          </p:nvCxnSpPr>
          <p:spPr>
            <a:xfrm>
              <a:off x="4922399" y="1994643"/>
              <a:ext cx="128537" cy="45190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6EFE663-AC3E-4D04-BEA2-01DB0ED71F6F}"/>
                </a:ext>
              </a:extLst>
            </p:cNvPr>
            <p:cNvCxnSpPr/>
            <p:nvPr/>
          </p:nvCxnSpPr>
          <p:spPr>
            <a:xfrm flipH="1">
              <a:off x="5069912" y="2201788"/>
              <a:ext cx="335378" cy="24475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BF77505-4741-4D89-8A45-9AE544F107BD}"/>
                </a:ext>
              </a:extLst>
            </p:cNvPr>
            <p:cNvCxnSpPr/>
            <p:nvPr/>
          </p:nvCxnSpPr>
          <p:spPr>
            <a:xfrm flipH="1" flipV="1">
              <a:off x="5034318" y="2446545"/>
              <a:ext cx="649734" cy="7834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CE17BB2-D48E-4E6A-9E2B-82E0C0C20279}"/>
                </a:ext>
              </a:extLst>
            </p:cNvPr>
            <p:cNvCxnSpPr/>
            <p:nvPr/>
          </p:nvCxnSpPr>
          <p:spPr>
            <a:xfrm>
              <a:off x="4823902" y="2833138"/>
              <a:ext cx="244809" cy="45245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2F0BA70-522C-408E-ADC7-25150F6D352F}"/>
                </a:ext>
              </a:extLst>
            </p:cNvPr>
            <p:cNvCxnSpPr/>
            <p:nvPr/>
          </p:nvCxnSpPr>
          <p:spPr>
            <a:xfrm flipV="1">
              <a:off x="4827023" y="2457801"/>
              <a:ext cx="230466" cy="37533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9A75480-B02C-41C3-A86D-02C7A0B547FE}"/>
                </a:ext>
              </a:extLst>
            </p:cNvPr>
            <p:cNvCxnSpPr/>
            <p:nvPr/>
          </p:nvCxnSpPr>
          <p:spPr>
            <a:xfrm flipV="1">
              <a:off x="4724415" y="2457801"/>
              <a:ext cx="320759" cy="2643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2EEE0A71-3022-4E48-9BB0-FB4F04281BC0}"/>
                </a:ext>
              </a:extLst>
            </p:cNvPr>
            <p:cNvCxnSpPr/>
            <p:nvPr/>
          </p:nvCxnSpPr>
          <p:spPr>
            <a:xfrm>
              <a:off x="5062189" y="2453656"/>
              <a:ext cx="401629" cy="24358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7F7C5E5-4201-44E2-8854-76019C84BB53}"/>
                </a:ext>
              </a:extLst>
            </p:cNvPr>
            <p:cNvCxnSpPr/>
            <p:nvPr/>
          </p:nvCxnSpPr>
          <p:spPr>
            <a:xfrm flipH="1">
              <a:off x="5478996" y="2524885"/>
              <a:ext cx="216308" cy="16518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B8899D4-0837-4DD8-BA61-60BAE3BA8FFF}"/>
                </a:ext>
              </a:extLst>
            </p:cNvPr>
            <p:cNvCxnSpPr/>
            <p:nvPr/>
          </p:nvCxnSpPr>
          <p:spPr>
            <a:xfrm>
              <a:off x="5453497" y="2707211"/>
              <a:ext cx="230554" cy="33016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88323D3-ACAE-40D5-BAC6-8D80445720C4}"/>
                </a:ext>
              </a:extLst>
            </p:cNvPr>
            <p:cNvCxnSpPr/>
            <p:nvPr/>
          </p:nvCxnSpPr>
          <p:spPr>
            <a:xfrm flipV="1">
              <a:off x="5224895" y="2698639"/>
              <a:ext cx="239398" cy="198838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C5ADEDA-F650-49A7-8C77-DDAED796BD67}"/>
                </a:ext>
              </a:extLst>
            </p:cNvPr>
            <p:cNvCxnSpPr/>
            <p:nvPr/>
          </p:nvCxnSpPr>
          <p:spPr>
            <a:xfrm>
              <a:off x="5068710" y="2463690"/>
              <a:ext cx="148576" cy="43378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A8C9B24-B51B-4721-A477-6983E53297FC}"/>
                </a:ext>
              </a:extLst>
            </p:cNvPr>
            <p:cNvCxnSpPr/>
            <p:nvPr/>
          </p:nvCxnSpPr>
          <p:spPr>
            <a:xfrm flipH="1" flipV="1">
              <a:off x="4706937" y="2481047"/>
              <a:ext cx="126834" cy="34291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050934D-96BB-4971-8B07-890EB52FE97B}"/>
                </a:ext>
              </a:extLst>
            </p:cNvPr>
            <p:cNvCxnSpPr/>
            <p:nvPr/>
          </p:nvCxnSpPr>
          <p:spPr>
            <a:xfrm flipV="1">
              <a:off x="4430476" y="2842312"/>
              <a:ext cx="382161" cy="45593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374401D-38CC-4B97-BE01-BDFB41D38034}"/>
                </a:ext>
              </a:extLst>
            </p:cNvPr>
            <p:cNvCxnSpPr/>
            <p:nvPr/>
          </p:nvCxnSpPr>
          <p:spPr>
            <a:xfrm>
              <a:off x="4361042" y="2707211"/>
              <a:ext cx="435607" cy="12412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B30AA4E-157F-46D9-A226-5E48553C3816}"/>
                </a:ext>
              </a:extLst>
            </p:cNvPr>
            <p:cNvCxnSpPr/>
            <p:nvPr/>
          </p:nvCxnSpPr>
          <p:spPr>
            <a:xfrm flipV="1">
              <a:off x="4847397" y="2702878"/>
              <a:ext cx="594750" cy="13934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DB3F3045-0B7F-472C-977A-273B37ECD0C4}"/>
                </a:ext>
              </a:extLst>
            </p:cNvPr>
            <p:cNvCxnSpPr/>
            <p:nvPr/>
          </p:nvCxnSpPr>
          <p:spPr>
            <a:xfrm>
              <a:off x="4839082" y="2851402"/>
              <a:ext cx="381552" cy="5171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51F5E95-DB53-4303-BEC9-4E87D670C812}"/>
                </a:ext>
              </a:extLst>
            </p:cNvPr>
            <p:cNvCxnSpPr/>
            <p:nvPr/>
          </p:nvCxnSpPr>
          <p:spPr>
            <a:xfrm flipH="1" flipV="1">
              <a:off x="4218521" y="2960924"/>
              <a:ext cx="271252" cy="15008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ACDAA23A-20FB-4AFB-B379-1825C0CEF1D0}"/>
                </a:ext>
              </a:extLst>
            </p:cNvPr>
            <p:cNvCxnSpPr/>
            <p:nvPr/>
          </p:nvCxnSpPr>
          <p:spPr>
            <a:xfrm flipV="1">
              <a:off x="4074199" y="3108490"/>
              <a:ext cx="389219" cy="21176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6E1B29A-88AE-4C39-9A2E-2CE6A203891A}"/>
                </a:ext>
              </a:extLst>
            </p:cNvPr>
            <p:cNvCxnSpPr/>
            <p:nvPr/>
          </p:nvCxnSpPr>
          <p:spPr>
            <a:xfrm>
              <a:off x="4094047" y="3320253"/>
              <a:ext cx="449463" cy="19522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AEB76DE6-5AC0-4CA4-871A-33412C32C709}"/>
                </a:ext>
              </a:extLst>
            </p:cNvPr>
            <p:cNvCxnSpPr/>
            <p:nvPr/>
          </p:nvCxnSpPr>
          <p:spPr>
            <a:xfrm flipV="1">
              <a:off x="4328388" y="3515474"/>
              <a:ext cx="196158" cy="32398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6D2B1B6-BF86-4F73-B887-CE86999809B7}"/>
                </a:ext>
              </a:extLst>
            </p:cNvPr>
            <p:cNvCxnSpPr/>
            <p:nvPr/>
          </p:nvCxnSpPr>
          <p:spPr>
            <a:xfrm flipH="1" flipV="1">
              <a:off x="4527459" y="3516585"/>
              <a:ext cx="111538" cy="40245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93DD868-B492-4F6A-BDD2-5D1B0386B608}"/>
                </a:ext>
              </a:extLst>
            </p:cNvPr>
            <p:cNvCxnSpPr/>
            <p:nvPr/>
          </p:nvCxnSpPr>
          <p:spPr>
            <a:xfrm flipV="1">
              <a:off x="4424690" y="3919041"/>
              <a:ext cx="221589" cy="26099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67BA220-29B7-4054-BBA3-10CE87BAAB9B}"/>
                </a:ext>
              </a:extLst>
            </p:cNvPr>
            <p:cNvCxnSpPr/>
            <p:nvPr/>
          </p:nvCxnSpPr>
          <p:spPr>
            <a:xfrm>
              <a:off x="4653637" y="3928760"/>
              <a:ext cx="210104" cy="26042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22E979B-88E3-4CDE-8BD5-736EC4BD2881}"/>
                </a:ext>
              </a:extLst>
            </p:cNvPr>
            <p:cNvCxnSpPr/>
            <p:nvPr/>
          </p:nvCxnSpPr>
          <p:spPr>
            <a:xfrm flipV="1">
              <a:off x="4846137" y="3623570"/>
              <a:ext cx="0" cy="55646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036B413-13F4-4C24-978A-C4EE42E74F74}"/>
                </a:ext>
              </a:extLst>
            </p:cNvPr>
            <p:cNvCxnSpPr/>
            <p:nvPr/>
          </p:nvCxnSpPr>
          <p:spPr>
            <a:xfrm>
              <a:off x="4833772" y="2842228"/>
              <a:ext cx="0" cy="45400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CB0056D-F5D2-4B0B-A56F-F4D27CED789C}"/>
                </a:ext>
              </a:extLst>
            </p:cNvPr>
            <p:cNvCxnSpPr/>
            <p:nvPr/>
          </p:nvCxnSpPr>
          <p:spPr>
            <a:xfrm>
              <a:off x="4478637" y="3108490"/>
              <a:ext cx="385105" cy="51508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14A829D-C4B7-43C0-A81D-72564FDA71BC}"/>
                </a:ext>
              </a:extLst>
            </p:cNvPr>
            <p:cNvCxnSpPr/>
            <p:nvPr/>
          </p:nvCxnSpPr>
          <p:spPr>
            <a:xfrm flipH="1" flipV="1">
              <a:off x="4839082" y="3286701"/>
              <a:ext cx="16040" cy="33501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493047A-A673-4362-8A80-6B7283854742}"/>
                </a:ext>
              </a:extLst>
            </p:cNvPr>
            <p:cNvCxnSpPr/>
            <p:nvPr/>
          </p:nvCxnSpPr>
          <p:spPr>
            <a:xfrm>
              <a:off x="5237601" y="2912286"/>
              <a:ext cx="74990" cy="33272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A8A8AE7-BD46-4CCB-BCD5-88C4DF30F9DB}"/>
                </a:ext>
              </a:extLst>
            </p:cNvPr>
            <p:cNvCxnSpPr/>
            <p:nvPr/>
          </p:nvCxnSpPr>
          <p:spPr>
            <a:xfrm flipV="1">
              <a:off x="5309970" y="2697242"/>
              <a:ext cx="149667" cy="54777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9259F0A-FB73-4802-8575-8F24DD4FDC58}"/>
                </a:ext>
              </a:extLst>
            </p:cNvPr>
            <p:cNvCxnSpPr/>
            <p:nvPr/>
          </p:nvCxnSpPr>
          <p:spPr>
            <a:xfrm flipV="1">
              <a:off x="5075792" y="2912286"/>
              <a:ext cx="147850" cy="38394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2CC1B1D0-E737-48D8-8B78-8E652F807AFA}"/>
                </a:ext>
              </a:extLst>
            </p:cNvPr>
            <p:cNvCxnSpPr/>
            <p:nvPr/>
          </p:nvCxnSpPr>
          <p:spPr>
            <a:xfrm flipV="1">
              <a:off x="4492595" y="2896742"/>
              <a:ext cx="721372" cy="20146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EED7348-8F05-467C-93C9-8F1E3B7939BE}"/>
                </a:ext>
              </a:extLst>
            </p:cNvPr>
            <p:cNvCxnSpPr/>
            <p:nvPr/>
          </p:nvCxnSpPr>
          <p:spPr>
            <a:xfrm flipH="1" flipV="1">
              <a:off x="4831817" y="3602687"/>
              <a:ext cx="298022" cy="344492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8AAB9CB-77F8-467B-8B4C-72CE31D9D78D}"/>
                </a:ext>
              </a:extLst>
            </p:cNvPr>
            <p:cNvCxnSpPr/>
            <p:nvPr/>
          </p:nvCxnSpPr>
          <p:spPr>
            <a:xfrm flipV="1">
              <a:off x="4867283" y="3935314"/>
              <a:ext cx="264476" cy="23921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8048C8F5-A7E0-47BC-95E2-9DB84DE2ACCD}"/>
                </a:ext>
              </a:extLst>
            </p:cNvPr>
            <p:cNvCxnSpPr/>
            <p:nvPr/>
          </p:nvCxnSpPr>
          <p:spPr>
            <a:xfrm>
              <a:off x="5124054" y="3633289"/>
              <a:ext cx="232173" cy="14075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0CD34381-3BE3-441A-ADBE-C15470087172}"/>
                </a:ext>
              </a:extLst>
            </p:cNvPr>
            <p:cNvCxnSpPr/>
            <p:nvPr/>
          </p:nvCxnSpPr>
          <p:spPr>
            <a:xfrm flipH="1">
              <a:off x="5124054" y="3640379"/>
              <a:ext cx="7706" cy="30573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F23BC0AA-273D-469F-8B13-C495A53EAD95}"/>
                </a:ext>
              </a:extLst>
            </p:cNvPr>
            <p:cNvCxnSpPr/>
            <p:nvPr/>
          </p:nvCxnSpPr>
          <p:spPr>
            <a:xfrm>
              <a:off x="5066037" y="3299398"/>
              <a:ext cx="70522" cy="34098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9CC19F2-C9CC-4D0C-AD16-926118275AF3}"/>
                </a:ext>
              </a:extLst>
            </p:cNvPr>
            <p:cNvCxnSpPr/>
            <p:nvPr/>
          </p:nvCxnSpPr>
          <p:spPr>
            <a:xfrm flipV="1">
              <a:off x="4536586" y="3302786"/>
              <a:ext cx="302466" cy="20659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38CB685-1B68-4C04-B7F5-4C058A934219}"/>
                </a:ext>
              </a:extLst>
            </p:cNvPr>
            <p:cNvCxnSpPr/>
            <p:nvPr/>
          </p:nvCxnSpPr>
          <p:spPr>
            <a:xfrm>
              <a:off x="4471353" y="3110593"/>
              <a:ext cx="381567" cy="19509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F2810307-298C-4C46-83E0-C15CB25AE7B8}"/>
                </a:ext>
              </a:extLst>
            </p:cNvPr>
            <p:cNvCxnSpPr/>
            <p:nvPr/>
          </p:nvCxnSpPr>
          <p:spPr>
            <a:xfrm>
              <a:off x="4845383" y="3293424"/>
              <a:ext cx="221791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C67E4A6-397D-402B-9B9F-30D70981012B}"/>
                </a:ext>
              </a:extLst>
            </p:cNvPr>
            <p:cNvCxnSpPr/>
            <p:nvPr/>
          </p:nvCxnSpPr>
          <p:spPr>
            <a:xfrm flipV="1">
              <a:off x="4863741" y="3285590"/>
              <a:ext cx="212051" cy="32729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538B613-C2D7-48EE-8F3A-8BDF89261F25}"/>
                </a:ext>
              </a:extLst>
            </p:cNvPr>
            <p:cNvCxnSpPr/>
            <p:nvPr/>
          </p:nvCxnSpPr>
          <p:spPr>
            <a:xfrm flipV="1">
              <a:off x="4648399" y="3615797"/>
              <a:ext cx="182584" cy="317035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73777F4-285E-453A-8A40-4575995EC3D4}"/>
                </a:ext>
              </a:extLst>
            </p:cNvPr>
            <p:cNvCxnSpPr/>
            <p:nvPr/>
          </p:nvCxnSpPr>
          <p:spPr>
            <a:xfrm flipV="1">
              <a:off x="4322489" y="3599522"/>
              <a:ext cx="521515" cy="26886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7E65E75-6EA8-4E1D-8306-AC609E773289}"/>
                </a:ext>
              </a:extLst>
            </p:cNvPr>
            <p:cNvCxnSpPr/>
            <p:nvPr/>
          </p:nvCxnSpPr>
          <p:spPr>
            <a:xfrm>
              <a:off x="4335280" y="3875589"/>
              <a:ext cx="792423" cy="71591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37AAFEAB-350D-48DE-94CB-F3D52055D385}"/>
                </a:ext>
              </a:extLst>
            </p:cNvPr>
            <p:cNvCxnSpPr/>
            <p:nvPr/>
          </p:nvCxnSpPr>
          <p:spPr>
            <a:xfrm flipH="1">
              <a:off x="5129839" y="3443377"/>
              <a:ext cx="386957" cy="209653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71491D4-EB59-46B8-82A1-39E37AE269B2}"/>
                </a:ext>
              </a:extLst>
            </p:cNvPr>
            <p:cNvCxnSpPr/>
            <p:nvPr/>
          </p:nvCxnSpPr>
          <p:spPr>
            <a:xfrm flipV="1">
              <a:off x="4535655" y="3457500"/>
              <a:ext cx="986928" cy="54745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CF9B3554-F5DF-442E-8F85-D5D2231192D3}"/>
                </a:ext>
              </a:extLst>
            </p:cNvPr>
            <p:cNvCxnSpPr/>
            <p:nvPr/>
          </p:nvCxnSpPr>
          <p:spPr>
            <a:xfrm>
              <a:off x="4433412" y="4173313"/>
              <a:ext cx="421711" cy="7765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E7B87895-6BDD-4C52-849A-012C6F56CA78}"/>
                </a:ext>
              </a:extLst>
            </p:cNvPr>
            <p:cNvCxnSpPr/>
            <p:nvPr/>
          </p:nvCxnSpPr>
          <p:spPr>
            <a:xfrm>
              <a:off x="4860361" y="4176674"/>
              <a:ext cx="253168" cy="8176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22CA00D0-9F37-41AC-83A4-498C78BE6AAE}"/>
                </a:ext>
              </a:extLst>
            </p:cNvPr>
            <p:cNvCxnSpPr/>
            <p:nvPr/>
          </p:nvCxnSpPr>
          <p:spPr>
            <a:xfrm flipV="1">
              <a:off x="5115534" y="4139245"/>
              <a:ext cx="204720" cy="48967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7394F183-DB03-41D6-B657-D3AE5F2D6151}"/>
                </a:ext>
              </a:extLst>
            </p:cNvPr>
            <p:cNvCxnSpPr/>
            <p:nvPr/>
          </p:nvCxnSpPr>
          <p:spPr>
            <a:xfrm flipH="1">
              <a:off x="5113530" y="3935314"/>
              <a:ext cx="9604" cy="245764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CF2FAF8-A82E-4D47-A839-C7B1918882C0}"/>
                </a:ext>
              </a:extLst>
            </p:cNvPr>
            <p:cNvCxnSpPr/>
            <p:nvPr/>
          </p:nvCxnSpPr>
          <p:spPr>
            <a:xfrm>
              <a:off x="5124644" y="3936295"/>
              <a:ext cx="181239" cy="202950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FE9DE6BD-1538-470E-95D2-317F9F4DDC7A}"/>
                </a:ext>
              </a:extLst>
            </p:cNvPr>
            <p:cNvCxnSpPr/>
            <p:nvPr/>
          </p:nvCxnSpPr>
          <p:spPr>
            <a:xfrm flipV="1">
              <a:off x="5140493" y="3784358"/>
              <a:ext cx="225037" cy="157379"/>
            </a:xfrm>
            <a:prstGeom prst="line">
              <a:avLst/>
            </a:prstGeom>
            <a:ln w="12700">
              <a:solidFill>
                <a:schemeClr val="accent2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327B23F5-6F7D-4A24-9965-5BF13653F1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5924" y="2476194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6AF1C9B7-DA96-4DB9-AB70-B24C0F4FC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37282" y="2066089"/>
              <a:ext cx="139496" cy="1394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6533C880-C9EE-4CE8-9DB0-633D395D1B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83721" y="3382488"/>
              <a:ext cx="111597" cy="111597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7B6E1F48-CAF6-4515-A835-A6DE05F5F6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88241" y="1946452"/>
              <a:ext cx="96758" cy="96758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6F9E890A-3E14-445A-9AED-C2B092E352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7086" y="4133075"/>
              <a:ext cx="96758" cy="96758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61C89C16-1D89-4CE7-8AE7-1AF3C5EAB3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7260" y="2297644"/>
              <a:ext cx="96758" cy="967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05C88129-975D-4428-A35F-B79C16A7F1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47081" y="2141452"/>
              <a:ext cx="120672" cy="120672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BC17B5F3-8AD9-4CB5-BC9A-C85FC9F6BE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7222" y="4131654"/>
              <a:ext cx="96758" cy="9675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509A8F49-3874-4164-B8B5-84DD6AAA86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3272" y="3819474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6991C32F-15B5-4300-9D7A-271576C442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0225" y="2741895"/>
              <a:ext cx="183273" cy="18327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2340B5D-EA88-4321-BA24-33DD08D6A6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50080" y="3062648"/>
              <a:ext cx="126638" cy="1266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B07BC7EF-90CC-49AB-A1CE-17AE168D47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4667" y="2835192"/>
              <a:ext cx="96758" cy="9675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F85EAFED-F527-4E83-8787-FCB21E85CD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0123" y="3252149"/>
              <a:ext cx="96758" cy="96758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891E15AA-BB92-4433-8CF2-16001E8BBD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85495" y="2865498"/>
              <a:ext cx="96758" cy="96758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2D05FC32-C65A-40DE-8397-0FB5EEBF4E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0280" y="2444354"/>
              <a:ext cx="96758" cy="9675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3CADD48D-1F4C-4D0B-BF0A-C2C69AD232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039" y="4149949"/>
              <a:ext cx="78463" cy="78463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F53F99-05DB-405D-9F4F-307D72F885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492" y="4119697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223266B9-1F2C-481E-9215-FC1B74FEB0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83430" y="3879810"/>
              <a:ext cx="120672" cy="12067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2459D964-E854-49BE-8806-7626B24BA6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66473" y="3496412"/>
              <a:ext cx="183273" cy="18327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8A5A62A7-FE6A-4406-8BF5-6D485E6B00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4791" y="3222270"/>
              <a:ext cx="126638" cy="1266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43D215CD-60DF-400A-8E8B-E68F2B87A7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68897" y="2913877"/>
              <a:ext cx="96758" cy="96758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91362C8E-DB28-4F96-9E23-522E377F3A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43608" y="2643684"/>
              <a:ext cx="120672" cy="12067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A1A04DBE-2852-4951-B217-993FA3A8AD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94268" y="2386239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28E033B-F91D-4AD8-A6BE-BACDF34778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18898" y="2643684"/>
              <a:ext cx="120672" cy="12067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DB78D0B2-36E0-4143-9B85-B61B5B38D8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59133" y="3175560"/>
              <a:ext cx="120672" cy="120672"/>
            </a:xfrm>
            <a:prstGeom prst="ellipse">
              <a:avLst/>
            </a:prstGeom>
            <a:solidFill>
              <a:srgbClr val="51508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B60AFDF3-9DDB-4C8E-8856-B33E08FC41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0021" y="3440054"/>
              <a:ext cx="120672" cy="12067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75F6D6C7-91E8-4554-A3BF-C52400E052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01336" y="3592828"/>
              <a:ext cx="78463" cy="7846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1D449517-2766-4518-AC4F-90BD43747C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24948" y="3879810"/>
              <a:ext cx="78463" cy="784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CB356984-1DC7-4EC7-BB22-B9E51FA78A39}"/>
                </a:ext>
              </a:extLst>
            </p:cNvPr>
            <p:cNvSpPr>
              <a:spLocks/>
            </p:cNvSpPr>
            <p:nvPr/>
          </p:nvSpPr>
          <p:spPr>
            <a:xfrm>
              <a:off x="5606694" y="2965575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E4D3D7D-87B6-431F-AB63-6E2008D672BC}"/>
                </a:ext>
              </a:extLst>
            </p:cNvPr>
            <p:cNvSpPr>
              <a:spLocks/>
            </p:cNvSpPr>
            <p:nvPr/>
          </p:nvSpPr>
          <p:spPr>
            <a:xfrm>
              <a:off x="5274368" y="3693847"/>
              <a:ext cx="150790" cy="150790"/>
            </a:xfrm>
            <a:prstGeom prst="ellipse">
              <a:avLst/>
            </a:prstGeom>
            <a:solidFill>
              <a:srgbClr val="2F2C4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EBFFE35-5162-4B15-B3E3-5ECC812EC6DA}"/>
                </a:ext>
              </a:extLst>
            </p:cNvPr>
            <p:cNvSpPr>
              <a:spLocks/>
            </p:cNvSpPr>
            <p:nvPr/>
          </p:nvSpPr>
          <p:spPr>
            <a:xfrm>
              <a:off x="3985621" y="3217193"/>
              <a:ext cx="150790" cy="15079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E288402-A96C-4E02-846B-C3A246FA05FB}"/>
                </a:ext>
              </a:extLst>
            </p:cNvPr>
            <p:cNvSpPr>
              <a:spLocks/>
            </p:cNvSpPr>
            <p:nvPr/>
          </p:nvSpPr>
          <p:spPr>
            <a:xfrm>
              <a:off x="3870032" y="2681558"/>
              <a:ext cx="150790" cy="15079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8" name="Freeform 70">
              <a:extLst>
                <a:ext uri="{FF2B5EF4-FFF2-40B4-BE49-F238E27FC236}">
                  <a16:creationId xmlns:a16="http://schemas.microsoft.com/office/drawing/2014/main" id="{AE5C998F-884A-4CAA-9964-C6427703B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557" y="4304162"/>
              <a:ext cx="783863" cy="687467"/>
            </a:xfrm>
            <a:custGeom>
              <a:avLst/>
              <a:gdLst>
                <a:gd name="T0" fmla="*/ 631 w 642"/>
                <a:gd name="T1" fmla="*/ 419 h 563"/>
                <a:gd name="T2" fmla="*/ 616 w 642"/>
                <a:gd name="T3" fmla="*/ 371 h 563"/>
                <a:gd name="T4" fmla="*/ 608 w 642"/>
                <a:gd name="T5" fmla="*/ 354 h 563"/>
                <a:gd name="T6" fmla="*/ 634 w 642"/>
                <a:gd name="T7" fmla="*/ 328 h 563"/>
                <a:gd name="T8" fmla="*/ 634 w 642"/>
                <a:gd name="T9" fmla="*/ 328 h 563"/>
                <a:gd name="T10" fmla="*/ 634 w 642"/>
                <a:gd name="T11" fmla="*/ 291 h 563"/>
                <a:gd name="T12" fmla="*/ 634 w 642"/>
                <a:gd name="T13" fmla="*/ 291 h 563"/>
                <a:gd name="T14" fmla="*/ 608 w 642"/>
                <a:gd name="T15" fmla="*/ 265 h 563"/>
                <a:gd name="T16" fmla="*/ 634 w 642"/>
                <a:gd name="T17" fmla="*/ 239 h 563"/>
                <a:gd name="T18" fmla="*/ 634 w 642"/>
                <a:gd name="T19" fmla="*/ 239 h 563"/>
                <a:gd name="T20" fmla="*/ 616 w 642"/>
                <a:gd name="T21" fmla="*/ 194 h 563"/>
                <a:gd name="T22" fmla="*/ 608 w 642"/>
                <a:gd name="T23" fmla="*/ 176 h 563"/>
                <a:gd name="T24" fmla="*/ 634 w 642"/>
                <a:gd name="T25" fmla="*/ 150 h 563"/>
                <a:gd name="T26" fmla="*/ 634 w 642"/>
                <a:gd name="T27" fmla="*/ 150 h 563"/>
                <a:gd name="T28" fmla="*/ 616 w 642"/>
                <a:gd name="T29" fmla="*/ 105 h 563"/>
                <a:gd name="T30" fmla="*/ 608 w 642"/>
                <a:gd name="T31" fmla="*/ 87 h 563"/>
                <a:gd name="T32" fmla="*/ 634 w 642"/>
                <a:gd name="T33" fmla="*/ 0 h 563"/>
                <a:gd name="T34" fmla="*/ 8 w 642"/>
                <a:gd name="T35" fmla="*/ 93 h 563"/>
                <a:gd name="T36" fmla="*/ 34 w 642"/>
                <a:gd name="T37" fmla="*/ 119 h 563"/>
                <a:gd name="T38" fmla="*/ 8 w 642"/>
                <a:gd name="T39" fmla="*/ 145 h 563"/>
                <a:gd name="T40" fmla="*/ 8 w 642"/>
                <a:gd name="T41" fmla="*/ 145 h 563"/>
                <a:gd name="T42" fmla="*/ 0 w 642"/>
                <a:gd name="T43" fmla="*/ 164 h 563"/>
                <a:gd name="T44" fmla="*/ 26 w 642"/>
                <a:gd name="T45" fmla="*/ 190 h 563"/>
                <a:gd name="T46" fmla="*/ 34 w 642"/>
                <a:gd name="T47" fmla="*/ 208 h 563"/>
                <a:gd name="T48" fmla="*/ 26 w 642"/>
                <a:gd name="T49" fmla="*/ 227 h 563"/>
                <a:gd name="T50" fmla="*/ 8 w 642"/>
                <a:gd name="T51" fmla="*/ 271 h 563"/>
                <a:gd name="T52" fmla="*/ 26 w 642"/>
                <a:gd name="T53" fmla="*/ 279 h 563"/>
                <a:gd name="T54" fmla="*/ 34 w 642"/>
                <a:gd name="T55" fmla="*/ 297 h 563"/>
                <a:gd name="T56" fmla="*/ 26 w 642"/>
                <a:gd name="T57" fmla="*/ 315 h 563"/>
                <a:gd name="T58" fmla="*/ 26 w 642"/>
                <a:gd name="T59" fmla="*/ 367 h 563"/>
                <a:gd name="T60" fmla="*/ 34 w 642"/>
                <a:gd name="T61" fmla="*/ 386 h 563"/>
                <a:gd name="T62" fmla="*/ 8 w 642"/>
                <a:gd name="T63" fmla="*/ 412 h 563"/>
                <a:gd name="T64" fmla="*/ 7 w 642"/>
                <a:gd name="T65" fmla="*/ 416 h 563"/>
                <a:gd name="T66" fmla="*/ 154 w 642"/>
                <a:gd name="T67" fmla="*/ 54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2" h="563">
                  <a:moveTo>
                    <a:pt x="496" y="542"/>
                  </a:moveTo>
                  <a:cubicBezTo>
                    <a:pt x="631" y="419"/>
                    <a:pt x="631" y="419"/>
                    <a:pt x="631" y="419"/>
                  </a:cubicBezTo>
                  <a:cubicBezTo>
                    <a:pt x="638" y="414"/>
                    <a:pt x="642" y="406"/>
                    <a:pt x="642" y="397"/>
                  </a:cubicBezTo>
                  <a:cubicBezTo>
                    <a:pt x="642" y="383"/>
                    <a:pt x="631" y="371"/>
                    <a:pt x="616" y="371"/>
                  </a:cubicBezTo>
                  <a:cubicBezTo>
                    <a:pt x="616" y="371"/>
                    <a:pt x="615" y="371"/>
                    <a:pt x="615" y="371"/>
                  </a:cubicBezTo>
                  <a:cubicBezTo>
                    <a:pt x="611" y="367"/>
                    <a:pt x="608" y="361"/>
                    <a:pt x="608" y="354"/>
                  </a:cubicBezTo>
                  <a:cubicBezTo>
                    <a:pt x="608" y="347"/>
                    <a:pt x="611" y="340"/>
                    <a:pt x="616" y="335"/>
                  </a:cubicBezTo>
                  <a:cubicBezTo>
                    <a:pt x="623" y="335"/>
                    <a:pt x="629" y="332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8" y="323"/>
                    <a:pt x="641" y="317"/>
                    <a:pt x="641" y="309"/>
                  </a:cubicBezTo>
                  <a:cubicBezTo>
                    <a:pt x="641" y="302"/>
                    <a:pt x="638" y="296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34" y="291"/>
                    <a:pt x="634" y="291"/>
                    <a:pt x="634" y="291"/>
                  </a:cubicBezTo>
                  <a:cubicBezTo>
                    <a:pt x="629" y="286"/>
                    <a:pt x="623" y="284"/>
                    <a:pt x="616" y="283"/>
                  </a:cubicBezTo>
                  <a:cubicBezTo>
                    <a:pt x="611" y="279"/>
                    <a:pt x="608" y="272"/>
                    <a:pt x="608" y="265"/>
                  </a:cubicBezTo>
                  <a:cubicBezTo>
                    <a:pt x="608" y="257"/>
                    <a:pt x="611" y="250"/>
                    <a:pt x="617" y="246"/>
                  </a:cubicBezTo>
                  <a:cubicBezTo>
                    <a:pt x="623" y="246"/>
                    <a:pt x="629" y="243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4" y="239"/>
                    <a:pt x="634" y="239"/>
                    <a:pt x="634" y="239"/>
                  </a:cubicBezTo>
                  <a:cubicBezTo>
                    <a:pt x="639" y="234"/>
                    <a:pt x="642" y="227"/>
                    <a:pt x="642" y="220"/>
                  </a:cubicBezTo>
                  <a:cubicBezTo>
                    <a:pt x="642" y="205"/>
                    <a:pt x="631" y="194"/>
                    <a:pt x="616" y="194"/>
                  </a:cubicBezTo>
                  <a:cubicBezTo>
                    <a:pt x="616" y="194"/>
                    <a:pt x="615" y="194"/>
                    <a:pt x="615" y="194"/>
                  </a:cubicBezTo>
                  <a:cubicBezTo>
                    <a:pt x="611" y="189"/>
                    <a:pt x="608" y="183"/>
                    <a:pt x="608" y="176"/>
                  </a:cubicBezTo>
                  <a:cubicBezTo>
                    <a:pt x="608" y="169"/>
                    <a:pt x="611" y="162"/>
                    <a:pt x="617" y="157"/>
                  </a:cubicBezTo>
                  <a:cubicBezTo>
                    <a:pt x="623" y="157"/>
                    <a:pt x="629" y="154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4" y="150"/>
                    <a:pt x="634" y="150"/>
                    <a:pt x="634" y="150"/>
                  </a:cubicBezTo>
                  <a:cubicBezTo>
                    <a:pt x="639" y="145"/>
                    <a:pt x="642" y="139"/>
                    <a:pt x="642" y="131"/>
                  </a:cubicBezTo>
                  <a:cubicBezTo>
                    <a:pt x="642" y="117"/>
                    <a:pt x="631" y="105"/>
                    <a:pt x="616" y="105"/>
                  </a:cubicBezTo>
                  <a:cubicBezTo>
                    <a:pt x="616" y="105"/>
                    <a:pt x="615" y="105"/>
                    <a:pt x="615" y="105"/>
                  </a:cubicBezTo>
                  <a:cubicBezTo>
                    <a:pt x="611" y="100"/>
                    <a:pt x="608" y="94"/>
                    <a:pt x="608" y="87"/>
                  </a:cubicBezTo>
                  <a:cubicBezTo>
                    <a:pt x="608" y="73"/>
                    <a:pt x="620" y="62"/>
                    <a:pt x="634" y="62"/>
                  </a:cubicBezTo>
                  <a:cubicBezTo>
                    <a:pt x="634" y="0"/>
                    <a:pt x="634" y="0"/>
                    <a:pt x="63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22" y="93"/>
                    <a:pt x="34" y="105"/>
                    <a:pt x="34" y="119"/>
                  </a:cubicBezTo>
                  <a:cubicBezTo>
                    <a:pt x="34" y="127"/>
                    <a:pt x="31" y="133"/>
                    <a:pt x="26" y="138"/>
                  </a:cubicBezTo>
                  <a:cubicBezTo>
                    <a:pt x="19" y="138"/>
                    <a:pt x="12" y="141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3" y="150"/>
                    <a:pt x="0" y="157"/>
                    <a:pt x="0" y="164"/>
                  </a:cubicBezTo>
                  <a:cubicBezTo>
                    <a:pt x="0" y="171"/>
                    <a:pt x="3" y="177"/>
                    <a:pt x="8" y="182"/>
                  </a:cubicBezTo>
                  <a:cubicBezTo>
                    <a:pt x="12" y="187"/>
                    <a:pt x="19" y="190"/>
                    <a:pt x="26" y="190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31" y="194"/>
                    <a:pt x="34" y="201"/>
                    <a:pt x="34" y="208"/>
                  </a:cubicBezTo>
                  <a:cubicBezTo>
                    <a:pt x="34" y="215"/>
                    <a:pt x="31" y="222"/>
                    <a:pt x="26" y="227"/>
                  </a:cubicBezTo>
                  <a:cubicBezTo>
                    <a:pt x="26" y="227"/>
                    <a:pt x="26" y="227"/>
                    <a:pt x="26" y="227"/>
                  </a:cubicBezTo>
                  <a:cubicBezTo>
                    <a:pt x="11" y="227"/>
                    <a:pt x="0" y="238"/>
                    <a:pt x="0" y="253"/>
                  </a:cubicBezTo>
                  <a:cubicBezTo>
                    <a:pt x="0" y="260"/>
                    <a:pt x="3" y="266"/>
                    <a:pt x="8" y="271"/>
                  </a:cubicBezTo>
                  <a:cubicBezTo>
                    <a:pt x="8" y="271"/>
                    <a:pt x="8" y="271"/>
                    <a:pt x="8" y="271"/>
                  </a:cubicBezTo>
                  <a:cubicBezTo>
                    <a:pt x="12" y="276"/>
                    <a:pt x="19" y="279"/>
                    <a:pt x="26" y="279"/>
                  </a:cubicBezTo>
                  <a:cubicBezTo>
                    <a:pt x="26" y="279"/>
                    <a:pt x="26" y="279"/>
                    <a:pt x="26" y="279"/>
                  </a:cubicBezTo>
                  <a:cubicBezTo>
                    <a:pt x="31" y="283"/>
                    <a:pt x="34" y="290"/>
                    <a:pt x="34" y="297"/>
                  </a:cubicBezTo>
                  <a:cubicBezTo>
                    <a:pt x="34" y="304"/>
                    <a:pt x="31" y="311"/>
                    <a:pt x="26" y="315"/>
                  </a:cubicBezTo>
                  <a:cubicBezTo>
                    <a:pt x="26" y="315"/>
                    <a:pt x="26" y="315"/>
                    <a:pt x="26" y="315"/>
                  </a:cubicBezTo>
                  <a:cubicBezTo>
                    <a:pt x="11" y="315"/>
                    <a:pt x="0" y="327"/>
                    <a:pt x="0" y="341"/>
                  </a:cubicBezTo>
                  <a:cubicBezTo>
                    <a:pt x="0" y="356"/>
                    <a:pt x="11" y="367"/>
                    <a:pt x="26" y="367"/>
                  </a:cubicBezTo>
                  <a:cubicBezTo>
                    <a:pt x="26" y="367"/>
                    <a:pt x="26" y="367"/>
                    <a:pt x="26" y="367"/>
                  </a:cubicBezTo>
                  <a:cubicBezTo>
                    <a:pt x="31" y="372"/>
                    <a:pt x="34" y="379"/>
                    <a:pt x="34" y="386"/>
                  </a:cubicBezTo>
                  <a:cubicBezTo>
                    <a:pt x="34" y="400"/>
                    <a:pt x="22" y="412"/>
                    <a:pt x="8" y="412"/>
                  </a:cubicBezTo>
                  <a:cubicBezTo>
                    <a:pt x="8" y="412"/>
                    <a:pt x="8" y="412"/>
                    <a:pt x="8" y="412"/>
                  </a:cubicBezTo>
                  <a:cubicBezTo>
                    <a:pt x="8" y="414"/>
                    <a:pt x="8" y="414"/>
                    <a:pt x="8" y="414"/>
                  </a:cubicBezTo>
                  <a:cubicBezTo>
                    <a:pt x="7" y="416"/>
                    <a:pt x="7" y="416"/>
                    <a:pt x="7" y="416"/>
                  </a:cubicBezTo>
                  <a:cubicBezTo>
                    <a:pt x="8" y="416"/>
                    <a:pt x="8" y="416"/>
                    <a:pt x="8" y="416"/>
                  </a:cubicBezTo>
                  <a:cubicBezTo>
                    <a:pt x="154" y="548"/>
                    <a:pt x="154" y="548"/>
                    <a:pt x="154" y="548"/>
                  </a:cubicBezTo>
                  <a:cubicBezTo>
                    <a:pt x="237" y="558"/>
                    <a:pt x="354" y="563"/>
                    <a:pt x="496" y="542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71">
              <a:extLst>
                <a:ext uri="{FF2B5EF4-FFF2-40B4-BE49-F238E27FC236}">
                  <a16:creationId xmlns:a16="http://schemas.microsoft.com/office/drawing/2014/main" id="{4BD97640-C2DE-42FA-A625-579A514A2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712702"/>
              <a:ext cx="723725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8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0" name="Freeform 72">
              <a:extLst>
                <a:ext uri="{FF2B5EF4-FFF2-40B4-BE49-F238E27FC236}">
                  <a16:creationId xmlns:a16="http://schemas.microsoft.com/office/drawing/2014/main" id="{059D8EF5-CA03-4688-9BE6-92A43CCF7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515" y="4603827"/>
              <a:ext cx="722689" cy="138945"/>
            </a:xfrm>
            <a:custGeom>
              <a:avLst/>
              <a:gdLst>
                <a:gd name="T0" fmla="*/ 3 w 592"/>
                <a:gd name="T1" fmla="*/ 33 h 114"/>
                <a:gd name="T2" fmla="*/ 592 w 592"/>
                <a:gd name="T3" fmla="*/ 0 h 114"/>
                <a:gd name="T4" fmla="*/ 592 w 592"/>
                <a:gd name="T5" fmla="*/ 37 h 114"/>
                <a:gd name="T6" fmla="*/ 0 w 592"/>
                <a:gd name="T7" fmla="*/ 72 h 114"/>
                <a:gd name="T8" fmla="*/ 3 w 592"/>
                <a:gd name="T9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2" h="114">
                  <a:moveTo>
                    <a:pt x="3" y="33"/>
                  </a:moveTo>
                  <a:cubicBezTo>
                    <a:pt x="3" y="33"/>
                    <a:pt x="351" y="65"/>
                    <a:pt x="592" y="0"/>
                  </a:cubicBezTo>
                  <a:cubicBezTo>
                    <a:pt x="592" y="0"/>
                    <a:pt x="577" y="20"/>
                    <a:pt x="592" y="37"/>
                  </a:cubicBezTo>
                  <a:cubicBezTo>
                    <a:pt x="592" y="37"/>
                    <a:pt x="347" y="114"/>
                    <a:pt x="0" y="72"/>
                  </a:cubicBezTo>
                  <a:cubicBezTo>
                    <a:pt x="0" y="72"/>
                    <a:pt x="23" y="58"/>
                    <a:pt x="3" y="3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73">
              <a:extLst>
                <a:ext uri="{FF2B5EF4-FFF2-40B4-BE49-F238E27FC236}">
                  <a16:creationId xmlns:a16="http://schemas.microsoft.com/office/drawing/2014/main" id="{AA770282-DB12-4EA2-AD95-25C0D0A03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442" y="4494952"/>
              <a:ext cx="724763" cy="138945"/>
            </a:xfrm>
            <a:custGeom>
              <a:avLst/>
              <a:gdLst>
                <a:gd name="T0" fmla="*/ 3 w 593"/>
                <a:gd name="T1" fmla="*/ 32 h 114"/>
                <a:gd name="T2" fmla="*/ 593 w 593"/>
                <a:gd name="T3" fmla="*/ 0 h 114"/>
                <a:gd name="T4" fmla="*/ 593 w 593"/>
                <a:gd name="T5" fmla="*/ 36 h 114"/>
                <a:gd name="T6" fmla="*/ 0 w 593"/>
                <a:gd name="T7" fmla="*/ 72 h 114"/>
                <a:gd name="T8" fmla="*/ 3 w 593"/>
                <a:gd name="T9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4">
                  <a:moveTo>
                    <a:pt x="3" y="32"/>
                  </a:moveTo>
                  <a:cubicBezTo>
                    <a:pt x="3" y="32"/>
                    <a:pt x="351" y="65"/>
                    <a:pt x="593" y="0"/>
                  </a:cubicBezTo>
                  <a:cubicBezTo>
                    <a:pt x="593" y="0"/>
                    <a:pt x="577" y="20"/>
                    <a:pt x="593" y="36"/>
                  </a:cubicBezTo>
                  <a:cubicBezTo>
                    <a:pt x="593" y="36"/>
                    <a:pt x="347" y="114"/>
                    <a:pt x="0" y="72"/>
                  </a:cubicBezTo>
                  <a:cubicBezTo>
                    <a:pt x="0" y="72"/>
                    <a:pt x="23" y="58"/>
                    <a:pt x="3" y="3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74">
              <a:extLst>
                <a:ext uri="{FF2B5EF4-FFF2-40B4-BE49-F238E27FC236}">
                  <a16:creationId xmlns:a16="http://schemas.microsoft.com/office/drawing/2014/main" id="{70119AE1-BAD0-4F98-BDFA-5FED437EF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405" y="4385041"/>
              <a:ext cx="724763" cy="139982"/>
            </a:xfrm>
            <a:custGeom>
              <a:avLst/>
              <a:gdLst>
                <a:gd name="T0" fmla="*/ 4 w 593"/>
                <a:gd name="T1" fmla="*/ 33 h 115"/>
                <a:gd name="T2" fmla="*/ 593 w 593"/>
                <a:gd name="T3" fmla="*/ 0 h 115"/>
                <a:gd name="T4" fmla="*/ 593 w 593"/>
                <a:gd name="T5" fmla="*/ 37 h 115"/>
                <a:gd name="T6" fmla="*/ 0 w 593"/>
                <a:gd name="T7" fmla="*/ 73 h 115"/>
                <a:gd name="T8" fmla="*/ 4 w 593"/>
                <a:gd name="T9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115">
                  <a:moveTo>
                    <a:pt x="4" y="33"/>
                  </a:moveTo>
                  <a:cubicBezTo>
                    <a:pt x="4" y="33"/>
                    <a:pt x="351" y="66"/>
                    <a:pt x="593" y="0"/>
                  </a:cubicBezTo>
                  <a:cubicBezTo>
                    <a:pt x="593" y="0"/>
                    <a:pt x="577" y="21"/>
                    <a:pt x="593" y="37"/>
                  </a:cubicBezTo>
                  <a:cubicBezTo>
                    <a:pt x="593" y="37"/>
                    <a:pt x="347" y="115"/>
                    <a:pt x="0" y="73"/>
                  </a:cubicBezTo>
                  <a:cubicBezTo>
                    <a:pt x="0" y="73"/>
                    <a:pt x="24" y="58"/>
                    <a:pt x="4" y="3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75">
              <a:extLst>
                <a:ext uri="{FF2B5EF4-FFF2-40B4-BE49-F238E27FC236}">
                  <a16:creationId xmlns:a16="http://schemas.microsoft.com/office/drawing/2014/main" id="{03544697-5216-458E-B67E-E6D62240D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228" y="4966743"/>
              <a:ext cx="417853" cy="106801"/>
            </a:xfrm>
            <a:custGeom>
              <a:avLst/>
              <a:gdLst>
                <a:gd name="T0" fmla="*/ 0 w 342"/>
                <a:gd name="T1" fmla="*/ 6 h 88"/>
                <a:gd name="T2" fmla="*/ 49 w 342"/>
                <a:gd name="T3" fmla="*/ 50 h 88"/>
                <a:gd name="T4" fmla="*/ 167 w 342"/>
                <a:gd name="T5" fmla="*/ 88 h 88"/>
                <a:gd name="T6" fmla="*/ 172 w 342"/>
                <a:gd name="T7" fmla="*/ 88 h 88"/>
                <a:gd name="T8" fmla="*/ 287 w 342"/>
                <a:gd name="T9" fmla="*/ 51 h 88"/>
                <a:gd name="T10" fmla="*/ 342 w 342"/>
                <a:gd name="T11" fmla="*/ 0 h 88"/>
                <a:gd name="T12" fmla="*/ 0 w 342"/>
                <a:gd name="T13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88">
                  <a:moveTo>
                    <a:pt x="0" y="6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61" y="72"/>
                    <a:pt x="107" y="88"/>
                    <a:pt x="167" y="88"/>
                  </a:cubicBezTo>
                  <a:cubicBezTo>
                    <a:pt x="167" y="88"/>
                    <a:pt x="172" y="88"/>
                    <a:pt x="172" y="88"/>
                  </a:cubicBezTo>
                  <a:cubicBezTo>
                    <a:pt x="234" y="86"/>
                    <a:pt x="278" y="68"/>
                    <a:pt x="287" y="51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200" y="21"/>
                    <a:pt x="83" y="16"/>
                    <a:pt x="0" y="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2B2F295-4A6E-4EBC-9278-BDDD729121D4}"/>
              </a:ext>
            </a:extLst>
          </p:cNvPr>
          <p:cNvSpPr/>
          <p:nvPr/>
        </p:nvSpPr>
        <p:spPr>
          <a:xfrm>
            <a:off x="2584354" y="2880419"/>
            <a:ext cx="3414867" cy="11197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000"/>
              </a:lnSpc>
            </a:pPr>
            <a:r>
              <a:rPr lang="en-US" sz="2000" dirty="0">
                <a:solidFill>
                  <a:srgbClr val="E24D29"/>
                </a:solidFill>
                <a:latin typeface="Open Sans" panose="020B0606030504020204"/>
              </a:rPr>
              <a:t>detects comments that contain aggression or negativity and replaces with a happier comment</a:t>
            </a:r>
            <a:endParaRPr lang="en-US" sz="2000" dirty="0">
              <a:solidFill>
                <a:srgbClr val="E24D29"/>
              </a:solidFill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D698733-BAD8-4A78-8BF5-FE987E5FDC3F}"/>
              </a:ext>
            </a:extLst>
          </p:cNvPr>
          <p:cNvCxnSpPr>
            <a:cxnSpLocks/>
          </p:cNvCxnSpPr>
          <p:nvPr/>
        </p:nvCxnSpPr>
        <p:spPr>
          <a:xfrm>
            <a:off x="6169708" y="2487280"/>
            <a:ext cx="0" cy="1883441"/>
          </a:xfrm>
          <a:prstGeom prst="line">
            <a:avLst/>
          </a:prstGeom>
          <a:ln w="28575">
            <a:solidFill>
              <a:srgbClr val="E14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3DA5168-93DA-43A0-B2C8-EA5CD80F969A}"/>
              </a:ext>
            </a:extLst>
          </p:cNvPr>
          <p:cNvSpPr txBox="1"/>
          <p:nvPr/>
        </p:nvSpPr>
        <p:spPr>
          <a:xfrm>
            <a:off x="6326493" y="3139178"/>
            <a:ext cx="4417961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4000" b="1" spc="300" dirty="0">
                <a:solidFill>
                  <a:srgbClr val="E1441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IT DOES</a:t>
            </a:r>
          </a:p>
        </p:txBody>
      </p:sp>
    </p:spTree>
    <p:extLst>
      <p:ext uri="{BB962C8B-B14F-4D97-AF65-F5344CB8AC3E}">
        <p14:creationId xmlns:p14="http://schemas.microsoft.com/office/powerpoint/2010/main" val="3115580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20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1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22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2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20"/>
                            </p:stCondLst>
                            <p:childTnLst>
                              <p:par>
                                <p:cTn id="2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4" fill="hold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6" grpId="1"/>
      <p:bldP spid="28" grpId="0"/>
      <p:bldP spid="28" grpId="1"/>
      <p:bldP spid="28" grpId="2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EFE3"/>
        </a:solidFill>
        <a:effectLst/>
      </p:bgPr>
    </p:bg>
    <p:spTree>
      <p:nvGrpSpPr>
        <p:cNvPr id="1" name="Shape 4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Freeform 21">
            <a:extLst>
              <a:ext uri="{FF2B5EF4-FFF2-40B4-BE49-F238E27FC236}">
                <a16:creationId xmlns:a16="http://schemas.microsoft.com/office/drawing/2014/main" id="{C75809FC-B5FE-4B04-87FE-DBA49E33D2A7}"/>
              </a:ext>
            </a:extLst>
          </p:cNvPr>
          <p:cNvSpPr>
            <a:spLocks noEditPoints="1"/>
          </p:cNvSpPr>
          <p:nvPr/>
        </p:nvSpPr>
        <p:spPr bwMode="auto">
          <a:xfrm>
            <a:off x="4131070" y="1523213"/>
            <a:ext cx="3929859" cy="3811573"/>
          </a:xfrm>
          <a:custGeom>
            <a:avLst/>
            <a:gdLst>
              <a:gd name="T0" fmla="*/ 4 w 94"/>
              <a:gd name="T1" fmla="*/ 78 h 93"/>
              <a:gd name="T2" fmla="*/ 4 w 94"/>
              <a:gd name="T3" fmla="*/ 91 h 93"/>
              <a:gd name="T4" fmla="*/ 10 w 94"/>
              <a:gd name="T5" fmla="*/ 93 h 93"/>
              <a:gd name="T6" fmla="*/ 16 w 94"/>
              <a:gd name="T7" fmla="*/ 91 h 93"/>
              <a:gd name="T8" fmla="*/ 45 w 94"/>
              <a:gd name="T9" fmla="*/ 62 h 93"/>
              <a:gd name="T10" fmla="*/ 32 w 94"/>
              <a:gd name="T11" fmla="*/ 50 h 93"/>
              <a:gd name="T12" fmla="*/ 4 w 94"/>
              <a:gd name="T13" fmla="*/ 78 h 93"/>
              <a:gd name="T14" fmla="*/ 75 w 94"/>
              <a:gd name="T15" fmla="*/ 25 h 93"/>
              <a:gd name="T16" fmla="*/ 88 w 94"/>
              <a:gd name="T17" fmla="*/ 19 h 93"/>
              <a:gd name="T18" fmla="*/ 94 w 94"/>
              <a:gd name="T19" fmla="*/ 6 h 93"/>
              <a:gd name="T20" fmla="*/ 88 w 94"/>
              <a:gd name="T21" fmla="*/ 0 h 93"/>
              <a:gd name="T22" fmla="*/ 76 w 94"/>
              <a:gd name="T23" fmla="*/ 7 h 93"/>
              <a:gd name="T24" fmla="*/ 69 w 94"/>
              <a:gd name="T25" fmla="*/ 19 h 93"/>
              <a:gd name="T26" fmla="*/ 54 w 94"/>
              <a:gd name="T27" fmla="*/ 34 h 93"/>
              <a:gd name="T28" fmla="*/ 60 w 94"/>
              <a:gd name="T29" fmla="*/ 41 h 93"/>
              <a:gd name="T30" fmla="*/ 75 w 94"/>
              <a:gd name="T31" fmla="*/ 25 h 93"/>
              <a:gd name="T32" fmla="*/ 78 w 94"/>
              <a:gd name="T33" fmla="*/ 58 h 93"/>
              <a:gd name="T34" fmla="*/ 77 w 94"/>
              <a:gd name="T35" fmla="*/ 58 h 93"/>
              <a:gd name="T36" fmla="*/ 71 w 94"/>
              <a:gd name="T37" fmla="*/ 59 h 93"/>
              <a:gd name="T38" fmla="*/ 35 w 94"/>
              <a:gd name="T39" fmla="*/ 24 h 93"/>
              <a:gd name="T40" fmla="*/ 36 w 94"/>
              <a:gd name="T41" fmla="*/ 18 h 93"/>
              <a:gd name="T42" fmla="*/ 36 w 94"/>
              <a:gd name="T43" fmla="*/ 16 h 93"/>
              <a:gd name="T44" fmla="*/ 19 w 94"/>
              <a:gd name="T45" fmla="*/ 0 h 93"/>
              <a:gd name="T46" fmla="*/ 11 w 94"/>
              <a:gd name="T47" fmla="*/ 2 h 93"/>
              <a:gd name="T48" fmla="*/ 23 w 94"/>
              <a:gd name="T49" fmla="*/ 14 h 93"/>
              <a:gd name="T50" fmla="*/ 24 w 94"/>
              <a:gd name="T51" fmla="*/ 16 h 93"/>
              <a:gd name="T52" fmla="*/ 23 w 94"/>
              <a:gd name="T53" fmla="*/ 22 h 93"/>
              <a:gd name="T54" fmla="*/ 19 w 94"/>
              <a:gd name="T55" fmla="*/ 23 h 93"/>
              <a:gd name="T56" fmla="*/ 17 w 94"/>
              <a:gd name="T57" fmla="*/ 23 h 93"/>
              <a:gd name="T58" fmla="*/ 15 w 94"/>
              <a:gd name="T59" fmla="*/ 22 h 93"/>
              <a:gd name="T60" fmla="*/ 3 w 94"/>
              <a:gd name="T61" fmla="*/ 10 h 93"/>
              <a:gd name="T62" fmla="*/ 1 w 94"/>
              <a:gd name="T63" fmla="*/ 18 h 93"/>
              <a:gd name="T64" fmla="*/ 17 w 94"/>
              <a:gd name="T65" fmla="*/ 35 h 93"/>
              <a:gd name="T66" fmla="*/ 19 w 94"/>
              <a:gd name="T67" fmla="*/ 35 h 93"/>
              <a:gd name="T68" fmla="*/ 25 w 94"/>
              <a:gd name="T69" fmla="*/ 34 h 93"/>
              <a:gd name="T70" fmla="*/ 60 w 94"/>
              <a:gd name="T71" fmla="*/ 70 h 93"/>
              <a:gd name="T72" fmla="*/ 59 w 94"/>
              <a:gd name="T73" fmla="*/ 76 h 93"/>
              <a:gd name="T74" fmla="*/ 59 w 94"/>
              <a:gd name="T75" fmla="*/ 77 h 93"/>
              <a:gd name="T76" fmla="*/ 77 w 94"/>
              <a:gd name="T77" fmla="*/ 93 h 93"/>
              <a:gd name="T78" fmla="*/ 84 w 94"/>
              <a:gd name="T79" fmla="*/ 91 h 93"/>
              <a:gd name="T80" fmla="*/ 73 w 94"/>
              <a:gd name="T81" fmla="*/ 80 h 93"/>
              <a:gd name="T82" fmla="*/ 71 w 94"/>
              <a:gd name="T83" fmla="*/ 78 h 93"/>
              <a:gd name="T84" fmla="*/ 73 w 94"/>
              <a:gd name="T85" fmla="*/ 72 h 93"/>
              <a:gd name="T86" fmla="*/ 77 w 94"/>
              <a:gd name="T87" fmla="*/ 70 h 93"/>
              <a:gd name="T88" fmla="*/ 79 w 94"/>
              <a:gd name="T89" fmla="*/ 70 h 93"/>
              <a:gd name="T90" fmla="*/ 81 w 94"/>
              <a:gd name="T91" fmla="*/ 72 h 93"/>
              <a:gd name="T92" fmla="*/ 92 w 94"/>
              <a:gd name="T93" fmla="*/ 83 h 93"/>
              <a:gd name="T94" fmla="*/ 94 w 94"/>
              <a:gd name="T95" fmla="*/ 76 h 93"/>
              <a:gd name="T96" fmla="*/ 78 w 94"/>
              <a:gd name="T97" fmla="*/ 58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4" h="93">
                <a:moveTo>
                  <a:pt x="4" y="78"/>
                </a:moveTo>
                <a:cubicBezTo>
                  <a:pt x="0" y="82"/>
                  <a:pt x="0" y="87"/>
                  <a:pt x="4" y="91"/>
                </a:cubicBezTo>
                <a:cubicBezTo>
                  <a:pt x="5" y="92"/>
                  <a:pt x="8" y="93"/>
                  <a:pt x="10" y="93"/>
                </a:cubicBezTo>
                <a:cubicBezTo>
                  <a:pt x="12" y="93"/>
                  <a:pt x="14" y="92"/>
                  <a:pt x="16" y="91"/>
                </a:cubicBezTo>
                <a:cubicBezTo>
                  <a:pt x="45" y="62"/>
                  <a:pt x="45" y="62"/>
                  <a:pt x="45" y="62"/>
                </a:cubicBezTo>
                <a:cubicBezTo>
                  <a:pt x="32" y="50"/>
                  <a:pt x="32" y="50"/>
                  <a:pt x="32" y="50"/>
                </a:cubicBezTo>
                <a:lnTo>
                  <a:pt x="4" y="78"/>
                </a:lnTo>
                <a:close/>
                <a:moveTo>
                  <a:pt x="75" y="25"/>
                </a:moveTo>
                <a:cubicBezTo>
                  <a:pt x="88" y="19"/>
                  <a:pt x="88" y="19"/>
                  <a:pt x="88" y="19"/>
                </a:cubicBezTo>
                <a:cubicBezTo>
                  <a:pt x="94" y="6"/>
                  <a:pt x="94" y="6"/>
                  <a:pt x="94" y="6"/>
                </a:cubicBezTo>
                <a:cubicBezTo>
                  <a:pt x="88" y="0"/>
                  <a:pt x="88" y="0"/>
                  <a:pt x="88" y="0"/>
                </a:cubicBezTo>
                <a:cubicBezTo>
                  <a:pt x="76" y="7"/>
                  <a:pt x="76" y="7"/>
                  <a:pt x="76" y="7"/>
                </a:cubicBezTo>
                <a:cubicBezTo>
                  <a:pt x="69" y="19"/>
                  <a:pt x="69" y="19"/>
                  <a:pt x="69" y="19"/>
                </a:cubicBezTo>
                <a:cubicBezTo>
                  <a:pt x="54" y="34"/>
                  <a:pt x="54" y="34"/>
                  <a:pt x="54" y="34"/>
                </a:cubicBezTo>
                <a:cubicBezTo>
                  <a:pt x="60" y="41"/>
                  <a:pt x="60" y="41"/>
                  <a:pt x="60" y="41"/>
                </a:cubicBezTo>
                <a:lnTo>
                  <a:pt x="75" y="25"/>
                </a:lnTo>
                <a:close/>
                <a:moveTo>
                  <a:pt x="78" y="58"/>
                </a:moveTo>
                <a:cubicBezTo>
                  <a:pt x="77" y="58"/>
                  <a:pt x="77" y="58"/>
                  <a:pt x="77" y="58"/>
                </a:cubicBezTo>
                <a:cubicBezTo>
                  <a:pt x="75" y="58"/>
                  <a:pt x="73" y="59"/>
                  <a:pt x="71" y="59"/>
                </a:cubicBezTo>
                <a:cubicBezTo>
                  <a:pt x="35" y="24"/>
                  <a:pt x="35" y="24"/>
                  <a:pt x="35" y="24"/>
                </a:cubicBezTo>
                <a:cubicBezTo>
                  <a:pt x="36" y="22"/>
                  <a:pt x="36" y="20"/>
                  <a:pt x="36" y="18"/>
                </a:cubicBezTo>
                <a:cubicBezTo>
                  <a:pt x="36" y="16"/>
                  <a:pt x="36" y="16"/>
                  <a:pt x="36" y="16"/>
                </a:cubicBezTo>
                <a:cubicBezTo>
                  <a:pt x="35" y="7"/>
                  <a:pt x="28" y="0"/>
                  <a:pt x="19" y="0"/>
                </a:cubicBezTo>
                <a:cubicBezTo>
                  <a:pt x="16" y="0"/>
                  <a:pt x="13" y="1"/>
                  <a:pt x="11" y="2"/>
                </a:cubicBezTo>
                <a:cubicBezTo>
                  <a:pt x="23" y="14"/>
                  <a:pt x="23" y="14"/>
                  <a:pt x="23" y="14"/>
                </a:cubicBezTo>
                <a:cubicBezTo>
                  <a:pt x="23" y="14"/>
                  <a:pt x="24" y="15"/>
                  <a:pt x="24" y="16"/>
                </a:cubicBezTo>
                <a:cubicBezTo>
                  <a:pt x="25" y="18"/>
                  <a:pt x="24" y="20"/>
                  <a:pt x="23" y="22"/>
                </a:cubicBezTo>
                <a:cubicBezTo>
                  <a:pt x="22" y="23"/>
                  <a:pt x="20" y="23"/>
                  <a:pt x="19" y="23"/>
                </a:cubicBezTo>
                <a:cubicBezTo>
                  <a:pt x="18" y="23"/>
                  <a:pt x="17" y="23"/>
                  <a:pt x="17" y="23"/>
                </a:cubicBezTo>
                <a:cubicBezTo>
                  <a:pt x="16" y="23"/>
                  <a:pt x="15" y="22"/>
                  <a:pt x="15" y="22"/>
                </a:cubicBezTo>
                <a:cubicBezTo>
                  <a:pt x="3" y="10"/>
                  <a:pt x="3" y="10"/>
                  <a:pt x="3" y="10"/>
                </a:cubicBezTo>
                <a:cubicBezTo>
                  <a:pt x="2" y="12"/>
                  <a:pt x="1" y="15"/>
                  <a:pt x="1" y="18"/>
                </a:cubicBezTo>
                <a:cubicBezTo>
                  <a:pt x="1" y="27"/>
                  <a:pt x="8" y="34"/>
                  <a:pt x="17" y="35"/>
                </a:cubicBezTo>
                <a:cubicBezTo>
                  <a:pt x="19" y="35"/>
                  <a:pt x="19" y="35"/>
                  <a:pt x="19" y="35"/>
                </a:cubicBezTo>
                <a:cubicBezTo>
                  <a:pt x="21" y="35"/>
                  <a:pt x="23" y="35"/>
                  <a:pt x="25" y="34"/>
                </a:cubicBezTo>
                <a:cubicBezTo>
                  <a:pt x="60" y="70"/>
                  <a:pt x="60" y="70"/>
                  <a:pt x="60" y="70"/>
                </a:cubicBezTo>
                <a:cubicBezTo>
                  <a:pt x="60" y="72"/>
                  <a:pt x="59" y="74"/>
                  <a:pt x="59" y="76"/>
                </a:cubicBezTo>
                <a:cubicBezTo>
                  <a:pt x="59" y="77"/>
                  <a:pt x="59" y="77"/>
                  <a:pt x="59" y="77"/>
                </a:cubicBezTo>
                <a:cubicBezTo>
                  <a:pt x="60" y="86"/>
                  <a:pt x="68" y="93"/>
                  <a:pt x="77" y="93"/>
                </a:cubicBezTo>
                <a:cubicBezTo>
                  <a:pt x="79" y="93"/>
                  <a:pt x="82" y="93"/>
                  <a:pt x="84" y="91"/>
                </a:cubicBezTo>
                <a:cubicBezTo>
                  <a:pt x="73" y="80"/>
                  <a:pt x="73" y="80"/>
                  <a:pt x="73" y="80"/>
                </a:cubicBezTo>
                <a:cubicBezTo>
                  <a:pt x="72" y="79"/>
                  <a:pt x="72" y="79"/>
                  <a:pt x="71" y="78"/>
                </a:cubicBezTo>
                <a:cubicBezTo>
                  <a:pt x="71" y="76"/>
                  <a:pt x="71" y="73"/>
                  <a:pt x="73" y="72"/>
                </a:cubicBezTo>
                <a:cubicBezTo>
                  <a:pt x="74" y="71"/>
                  <a:pt x="75" y="70"/>
                  <a:pt x="77" y="70"/>
                </a:cubicBezTo>
                <a:cubicBezTo>
                  <a:pt x="77" y="70"/>
                  <a:pt x="78" y="70"/>
                  <a:pt x="79" y="70"/>
                </a:cubicBezTo>
                <a:cubicBezTo>
                  <a:pt x="80" y="71"/>
                  <a:pt x="80" y="71"/>
                  <a:pt x="81" y="72"/>
                </a:cubicBezTo>
                <a:cubicBezTo>
                  <a:pt x="92" y="83"/>
                  <a:pt x="92" y="83"/>
                  <a:pt x="92" y="83"/>
                </a:cubicBezTo>
                <a:cubicBezTo>
                  <a:pt x="94" y="81"/>
                  <a:pt x="94" y="78"/>
                  <a:pt x="94" y="76"/>
                </a:cubicBezTo>
                <a:cubicBezTo>
                  <a:pt x="94" y="67"/>
                  <a:pt x="87" y="59"/>
                  <a:pt x="78" y="58"/>
                </a:cubicBezTo>
                <a:close/>
              </a:path>
            </a:pathLst>
          </a:custGeom>
          <a:solidFill>
            <a:srgbClr val="F0CD5E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DE7CC9F-6E31-4CAA-9921-7886C37FF6D1}"/>
              </a:ext>
            </a:extLst>
          </p:cNvPr>
          <p:cNvGrpSpPr/>
          <p:nvPr/>
        </p:nvGrpSpPr>
        <p:grpSpPr>
          <a:xfrm>
            <a:off x="1161254" y="1617178"/>
            <a:ext cx="10544790" cy="4412986"/>
            <a:chOff x="2776330" y="2318804"/>
            <a:chExt cx="6558036" cy="2744533"/>
          </a:xfrm>
        </p:grpSpPr>
        <p:sp>
          <p:nvSpPr>
            <p:cNvPr id="67" name="Shape 4787">
              <a:extLst>
                <a:ext uri="{FF2B5EF4-FFF2-40B4-BE49-F238E27FC236}">
                  <a16:creationId xmlns:a16="http://schemas.microsoft.com/office/drawing/2014/main" id="{ADC5A809-2BB0-42D9-85AC-09F5CD4E9384}"/>
                </a:ext>
              </a:extLst>
            </p:cNvPr>
            <p:cNvSpPr/>
            <p:nvPr/>
          </p:nvSpPr>
          <p:spPr>
            <a:xfrm>
              <a:off x="4439068" y="4092664"/>
              <a:ext cx="2961911" cy="952387"/>
            </a:xfrm>
            <a:prstGeom prst="roundRect">
              <a:avLst>
                <a:gd name="adj" fmla="val 1674"/>
              </a:avLst>
            </a:prstGeom>
            <a:noFill/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573000" tIns="97533" rIns="60933" bIns="97533" anchor="ctr" anchorCtr="0">
              <a:noAutofit/>
            </a:bodyPr>
            <a:lstStyle/>
            <a:p>
              <a:pPr lvl="2" algn="ctr">
                <a:lnSpc>
                  <a:spcPct val="113333"/>
                </a:lnSpc>
                <a:buClr>
                  <a:srgbClr val="212121"/>
                </a:buClr>
                <a:buSzPct val="25000"/>
              </a:pPr>
              <a:r>
                <a:rPr lang="en-US" sz="2400" dirty="0">
                  <a:solidFill>
                    <a:srgbClr val="E1441F"/>
                  </a:solidFill>
                  <a:latin typeface="Open Sans" panose="020B0606030504020204"/>
                  <a:ea typeface="Open Sans" pitchFamily="34" charset="0"/>
                  <a:cs typeface="Open Sans" pitchFamily="34" charset="0"/>
                  <a:sym typeface="Roboto"/>
                </a:rPr>
                <a:t>Chrome Extension</a:t>
              </a:r>
              <a:endParaRPr lang="id-ID" sz="2400" dirty="0">
                <a:solidFill>
                  <a:srgbClr val="E1441F"/>
                </a:solidFill>
                <a:latin typeface="Open Sans" panose="020B0606030504020204"/>
                <a:ea typeface="Open Sans" pitchFamily="34" charset="0"/>
                <a:cs typeface="Open Sans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C912BD0-2738-4592-8AFD-D6EFB62F7410}"/>
                </a:ext>
              </a:extLst>
            </p:cNvPr>
            <p:cNvGrpSpPr/>
            <p:nvPr/>
          </p:nvGrpSpPr>
          <p:grpSpPr>
            <a:xfrm>
              <a:off x="2776330" y="2318804"/>
              <a:ext cx="6558036" cy="2744533"/>
              <a:chOff x="2776330" y="2318804"/>
              <a:chExt cx="6558036" cy="2744533"/>
            </a:xfrm>
          </p:grpSpPr>
          <p:cxnSp>
            <p:nvCxnSpPr>
              <p:cNvPr id="4816" name="Shape 4816"/>
              <p:cNvCxnSpPr>
                <a:stCxn id="4784" idx="3"/>
                <a:endCxn id="4787" idx="1"/>
              </p:cNvCxnSpPr>
              <p:nvPr/>
            </p:nvCxnSpPr>
            <p:spPr>
              <a:xfrm flipV="1">
                <a:off x="5738241" y="2794999"/>
                <a:ext cx="634213" cy="2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accent2">
                    <a:lumMod val="75000"/>
                  </a:schemeClr>
                </a:solidFill>
                <a:prstDash val="solid"/>
                <a:round/>
                <a:headEnd type="triangle" w="med" len="med"/>
                <a:tailEnd type="triangle" w="med" len="med"/>
              </a:ln>
            </p:spPr>
          </p:cxn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744353A-9150-4505-B39A-C050992607A6}"/>
                  </a:ext>
                </a:extLst>
              </p:cNvPr>
              <p:cNvGrpSpPr/>
              <p:nvPr/>
            </p:nvGrpSpPr>
            <p:grpSpPr>
              <a:xfrm>
                <a:off x="2776330" y="2318804"/>
                <a:ext cx="6558036" cy="2230270"/>
                <a:chOff x="2776331" y="3889612"/>
                <a:chExt cx="3509294" cy="1193448"/>
              </a:xfrm>
            </p:grpSpPr>
            <p:sp>
              <p:nvSpPr>
                <p:cNvPr id="4779" name="Shape 4779"/>
                <p:cNvSpPr txBox="1"/>
                <p:nvPr/>
              </p:nvSpPr>
              <p:spPr>
                <a:xfrm>
                  <a:off x="3666221" y="4836583"/>
                  <a:ext cx="648913" cy="24647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121900" tIns="85333" rIns="0" bIns="0" anchor="t" anchorCtr="0">
                  <a:noAutofit/>
                </a:bodyPr>
                <a:lstStyle/>
                <a:p>
                  <a:pPr>
                    <a:lnSpc>
                      <a:spcPts val="1333"/>
                    </a:lnSpc>
                    <a:buClr>
                      <a:srgbClr val="9E9E9E"/>
                    </a:buClr>
                    <a:buSzPct val="25000"/>
                  </a:pPr>
                  <a:endParaRPr lang="en-US" sz="1000" dirty="0">
                    <a:solidFill>
                      <a:srgbClr val="9E9E9E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sp>
              <p:nvSpPr>
                <p:cNvPr id="4784" name="Shape 4784"/>
                <p:cNvSpPr/>
                <p:nvPr/>
              </p:nvSpPr>
              <p:spPr>
                <a:xfrm>
                  <a:off x="2776331" y="3889613"/>
                  <a:ext cx="1584959" cy="509635"/>
                </a:xfrm>
                <a:prstGeom prst="roundRect">
                  <a:avLst>
                    <a:gd name="adj" fmla="val 1674"/>
                  </a:avLst>
                </a:prstGeom>
                <a:noFill/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573000" tIns="97533" rIns="60933" bIns="97533" anchor="ctr" anchorCtr="0">
                  <a:noAutofit/>
                </a:bodyPr>
                <a:lstStyle/>
                <a:p>
                  <a:pPr lvl="2" algn="ctr">
                    <a:lnSpc>
                      <a:spcPct val="113333"/>
                    </a:lnSpc>
                    <a:buClr>
                      <a:srgbClr val="212121"/>
                    </a:buClr>
                    <a:buSzPct val="25000"/>
                  </a:pPr>
                  <a:br>
                    <a:rPr lang="en-US" sz="2400" dirty="0">
                      <a:solidFill>
                        <a:srgbClr val="212121"/>
                      </a:solidFill>
                      <a:latin typeface="Roboto"/>
                      <a:ea typeface="Roboto"/>
                      <a:cs typeface="Roboto"/>
                      <a:sym typeface="Roboto"/>
                    </a:rPr>
                  </a:br>
                  <a:r>
                    <a:rPr lang="en-US" sz="2400" dirty="0">
                      <a:solidFill>
                        <a:srgbClr val="E1441F"/>
                      </a:solidFill>
                      <a:latin typeface="Open Sans" pitchFamily="34" charset="0"/>
                      <a:ea typeface="Open Sans" pitchFamily="34" charset="0"/>
                      <a:cs typeface="Open Sans" pitchFamily="34" charset="0"/>
                    </a:rPr>
                    <a:t>Natural Language API</a:t>
                  </a:r>
                  <a:endParaRPr lang="id-ID" sz="2400" dirty="0">
                    <a:solidFill>
                      <a:srgbClr val="E1441F"/>
                    </a:solidFill>
                    <a:latin typeface="Open Sans" pitchFamily="34" charset="0"/>
                    <a:ea typeface="Open Sans" pitchFamily="34" charset="0"/>
                    <a:cs typeface="Open Sans" pitchFamily="34" charset="0"/>
                  </a:endParaRPr>
                </a:p>
                <a:p>
                  <a:pPr>
                    <a:lnSpc>
                      <a:spcPct val="113333"/>
                    </a:lnSpc>
                    <a:buClr>
                      <a:srgbClr val="212121"/>
                    </a:buClr>
                    <a:buSzPct val="25000"/>
                  </a:pPr>
                  <a:endParaRPr lang="en-US" sz="2400" dirty="0">
                    <a:solidFill>
                      <a:srgbClr val="757575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sp>
              <p:nvSpPr>
                <p:cNvPr id="4787" name="Shape 4787"/>
                <p:cNvSpPr/>
                <p:nvPr/>
              </p:nvSpPr>
              <p:spPr>
                <a:xfrm>
                  <a:off x="4700666" y="3889612"/>
                  <a:ext cx="1584959" cy="509635"/>
                </a:xfrm>
                <a:prstGeom prst="roundRect">
                  <a:avLst>
                    <a:gd name="adj" fmla="val 1674"/>
                  </a:avLst>
                </a:prstGeom>
                <a:noFill/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573000" tIns="97533" rIns="60933" bIns="97533" anchor="ctr" anchorCtr="0">
                  <a:noAutofit/>
                </a:bodyPr>
                <a:lstStyle/>
                <a:p>
                  <a:pPr algn="ctr">
                    <a:lnSpc>
                      <a:spcPct val="113333"/>
                    </a:lnSpc>
                    <a:buClr>
                      <a:srgbClr val="212121"/>
                    </a:buClr>
                    <a:buSzPct val="25000"/>
                  </a:pPr>
                  <a:r>
                    <a:rPr lang="en-US" sz="2400" dirty="0">
                      <a:solidFill>
                        <a:srgbClr val="E1441F"/>
                      </a:solidFill>
                      <a:latin typeface="Open Sans" panose="020B0606030504020204"/>
                      <a:ea typeface="Open Sans" pitchFamily="34" charset="0"/>
                      <a:cs typeface="Open Sans" pitchFamily="34" charset="0"/>
                      <a:sym typeface="Roboto"/>
                    </a:rPr>
                    <a:t>Rest API</a:t>
                  </a:r>
                  <a:endParaRPr lang="id-ID" sz="2400" dirty="0">
                    <a:solidFill>
                      <a:srgbClr val="E1441F"/>
                    </a:solidFill>
                    <a:latin typeface="Open Sans" panose="020B0606030504020204"/>
                    <a:ea typeface="Open Sans" pitchFamily="34" charset="0"/>
                    <a:cs typeface="Open Sans" pitchFamily="34" charset="0"/>
                  </a:endParaRPr>
                </a:p>
              </p:txBody>
            </p:sp>
            <p:cxnSp>
              <p:nvCxnSpPr>
                <p:cNvPr id="4817" name="Shape 4817"/>
                <p:cNvCxnSpPr>
                  <a:cxnSpLocks/>
                </p:cNvCxnSpPr>
                <p:nvPr/>
              </p:nvCxnSpPr>
              <p:spPr>
                <a:xfrm flipH="1">
                  <a:off x="4612991" y="4252019"/>
                  <a:ext cx="867611" cy="731643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rgbClr val="C00000"/>
                  </a:solidFill>
                  <a:prstDash val="solid"/>
                  <a:round/>
                  <a:headEnd type="triangle" w="med" len="med"/>
                  <a:tailEnd type="triangle" w="med" len="med"/>
                </a:ln>
              </p:spPr>
            </p:cxnSp>
          </p:grpSp>
          <p:pic>
            <p:nvPicPr>
              <p:cNvPr id="54" name="Shape 380" descr="Cloud-Machine-Learning_256px.png">
                <a:extLst>
                  <a:ext uri="{FF2B5EF4-FFF2-40B4-BE49-F238E27FC236}">
                    <a16:creationId xmlns:a16="http://schemas.microsoft.com/office/drawing/2014/main" id="{37CADF47-A18F-4FF4-B265-582352948554}"/>
                  </a:ext>
                </a:extLst>
              </p:cNvPr>
              <p:cNvPicPr preferRelativeResize="0"/>
              <p:nvPr/>
            </p:nvPicPr>
            <p:blipFill rotWithShape="1">
              <a:blip r:embed="rId3">
                <a:alphaModFix/>
              </a:blip>
              <a:srcRect t="5092" b="5092"/>
              <a:stretch/>
            </p:blipFill>
            <p:spPr>
              <a:xfrm>
                <a:off x="2929437" y="2416489"/>
                <a:ext cx="836846" cy="75164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6" name="Shape 2177" descr="Compute-Engine.png">
                <a:extLst>
                  <a:ext uri="{FF2B5EF4-FFF2-40B4-BE49-F238E27FC236}">
                    <a16:creationId xmlns:a16="http://schemas.microsoft.com/office/drawing/2014/main" id="{97B11EBB-66C5-4AFA-AAB3-6B1891EA2183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 t="5076" b="5076"/>
              <a:stretch/>
            </p:blipFill>
            <p:spPr>
              <a:xfrm>
                <a:off x="6557096" y="2409195"/>
                <a:ext cx="843883" cy="75894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5162EE22-A304-4422-82E6-8061588389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31389" y="4034811"/>
                <a:ext cx="1028526" cy="1028526"/>
              </a:xfrm>
              <a:prstGeom prst="rect">
                <a:avLst/>
              </a:prstGeom>
            </p:spPr>
          </p:pic>
        </p:grpSp>
      </p:grpSp>
      <p:grpSp>
        <p:nvGrpSpPr>
          <p:cNvPr id="76" name="Group 32">
            <a:extLst>
              <a:ext uri="{FF2B5EF4-FFF2-40B4-BE49-F238E27FC236}">
                <a16:creationId xmlns:a16="http://schemas.microsoft.com/office/drawing/2014/main" id="{2FD3789E-E8D6-4065-AEC3-2D7D4B6A2C38}"/>
              </a:ext>
            </a:extLst>
          </p:cNvPr>
          <p:cNvGrpSpPr/>
          <p:nvPr/>
        </p:nvGrpSpPr>
        <p:grpSpPr>
          <a:xfrm>
            <a:off x="1244735" y="194081"/>
            <a:ext cx="9906069" cy="625878"/>
            <a:chOff x="857224" y="142876"/>
            <a:chExt cx="7429552" cy="469408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C1B7F26-14E9-4EAB-B671-2794EFCE84D6}"/>
                </a:ext>
              </a:extLst>
            </p:cNvPr>
            <p:cNvSpPr/>
            <p:nvPr/>
          </p:nvSpPr>
          <p:spPr>
            <a:xfrm>
              <a:off x="857224" y="142876"/>
              <a:ext cx="7429552" cy="469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3467" dirty="0">
                  <a:solidFill>
                    <a:srgbClr val="E1441F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TOOLS</a:t>
              </a:r>
              <a:endParaRPr lang="id-ID" sz="3467" dirty="0">
                <a:solidFill>
                  <a:srgbClr val="E1441F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398BC7F7-6247-4BBF-9D8D-92775BB28C25}"/>
                </a:ext>
              </a:extLst>
            </p:cNvPr>
            <p:cNvCxnSpPr/>
            <p:nvPr/>
          </p:nvCxnSpPr>
          <p:spPr>
            <a:xfrm rot="5400000">
              <a:off x="3754717" y="385629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FE1F2D9D-9B98-4773-8C52-676C22B9AD78}"/>
                </a:ext>
              </a:extLst>
            </p:cNvPr>
            <p:cNvCxnSpPr/>
            <p:nvPr/>
          </p:nvCxnSpPr>
          <p:spPr>
            <a:xfrm rot="5400000">
              <a:off x="5101675" y="365372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09342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5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1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26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2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F6E7D1A3-C727-4A61-97B4-085E23F08538}"/>
              </a:ext>
            </a:extLst>
          </p:cNvPr>
          <p:cNvGrpSpPr/>
          <p:nvPr/>
        </p:nvGrpSpPr>
        <p:grpSpPr>
          <a:xfrm>
            <a:off x="8228750" y="3163321"/>
            <a:ext cx="2429999" cy="929007"/>
            <a:chOff x="8228750" y="3163321"/>
            <a:chExt cx="2429999" cy="929007"/>
          </a:xfrm>
        </p:grpSpPr>
        <p:sp>
          <p:nvSpPr>
            <p:cNvPr id="12" name="Arrow: Pentagon 11"/>
            <p:cNvSpPr/>
            <p:nvPr/>
          </p:nvSpPr>
          <p:spPr bwMode="auto">
            <a:xfrm>
              <a:off x="8228750" y="3163321"/>
              <a:ext cx="2429999" cy="929007"/>
            </a:xfrm>
            <a:prstGeom prst="homePlate">
              <a:avLst>
                <a:gd name="adj" fmla="val 24194"/>
              </a:avLst>
            </a:prstGeom>
            <a:solidFill>
              <a:srgbClr val="F73F48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608459" y="3197856"/>
              <a:ext cx="570715" cy="857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4800" dirty="0">
                  <a:solidFill>
                    <a:schemeClr val="bg1"/>
                  </a:solidFill>
                </a:rPr>
                <a:t>4</a:t>
              </a:r>
              <a:endParaRPr lang="en-US" sz="4800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005365" y="3468956"/>
              <a:ext cx="1518883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500" dirty="0">
                  <a:solidFill>
                    <a:schemeClr val="bg1"/>
                  </a:solidFill>
                  <a:latin typeface="Open Sans" panose="020B0606030504020204"/>
                </a:rPr>
                <a:t>Return Results</a:t>
              </a:r>
              <a:endParaRPr lang="en-US" sz="1500" dirty="0">
                <a:solidFill>
                  <a:schemeClr val="bg1"/>
                </a:solidFill>
                <a:latin typeface="Open Sans" panose="020B0606030504020204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420D48B-4035-4EDE-8F06-3C9626B7F91D}"/>
              </a:ext>
            </a:extLst>
          </p:cNvPr>
          <p:cNvGrpSpPr/>
          <p:nvPr/>
        </p:nvGrpSpPr>
        <p:grpSpPr>
          <a:xfrm>
            <a:off x="5993396" y="3163321"/>
            <a:ext cx="2429999" cy="929007"/>
            <a:chOff x="5993396" y="3163321"/>
            <a:chExt cx="2429999" cy="929007"/>
          </a:xfrm>
        </p:grpSpPr>
        <p:sp>
          <p:nvSpPr>
            <p:cNvPr id="11" name="Arrow: Pentagon 10"/>
            <p:cNvSpPr/>
            <p:nvPr/>
          </p:nvSpPr>
          <p:spPr bwMode="auto">
            <a:xfrm>
              <a:off x="5993396" y="3163321"/>
              <a:ext cx="2429999" cy="929007"/>
            </a:xfrm>
            <a:prstGeom prst="homePlate">
              <a:avLst>
                <a:gd name="adj" fmla="val 24194"/>
              </a:avLst>
            </a:prstGeom>
            <a:solidFill>
              <a:srgbClr val="FFCE33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373105" y="3197856"/>
              <a:ext cx="570715" cy="857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4800" dirty="0"/>
                <a:t>3</a:t>
              </a:r>
              <a:endParaRPr lang="en-US" sz="48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755664" y="3369718"/>
              <a:ext cx="151888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dirty="0">
                  <a:latin typeface="Open Sans" panose="020B0606030504020204"/>
                </a:rPr>
                <a:t>Sentiment Analyzing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DFD57C0-5B16-4536-A099-209D87CE7742}"/>
              </a:ext>
            </a:extLst>
          </p:cNvPr>
          <p:cNvGrpSpPr/>
          <p:nvPr/>
        </p:nvGrpSpPr>
        <p:grpSpPr>
          <a:xfrm>
            <a:off x="3772905" y="3163321"/>
            <a:ext cx="2429999" cy="929007"/>
            <a:chOff x="3772905" y="3163321"/>
            <a:chExt cx="2429999" cy="929007"/>
          </a:xfrm>
        </p:grpSpPr>
        <p:sp>
          <p:nvSpPr>
            <p:cNvPr id="10" name="Arrow: Pentagon 9"/>
            <p:cNvSpPr/>
            <p:nvPr/>
          </p:nvSpPr>
          <p:spPr bwMode="auto">
            <a:xfrm>
              <a:off x="3772905" y="3163321"/>
              <a:ext cx="2429999" cy="929007"/>
            </a:xfrm>
            <a:prstGeom prst="homePlate">
              <a:avLst>
                <a:gd name="adj" fmla="val 24194"/>
              </a:avLst>
            </a:prstGeom>
            <a:solidFill>
              <a:srgbClr val="009E47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152573" y="3197856"/>
              <a:ext cx="510096" cy="857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4800" dirty="0">
                  <a:solidFill>
                    <a:schemeClr val="bg1"/>
                  </a:solidFill>
                </a:rPr>
                <a:t>2</a:t>
              </a:r>
              <a:endParaRPr lang="en-US" sz="4800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513821" y="3374021"/>
              <a:ext cx="151888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500" dirty="0">
                  <a:solidFill>
                    <a:schemeClr val="bg1"/>
                  </a:solidFill>
                  <a:latin typeface="Open Sans" panose="020B0606030504020204"/>
                </a:rPr>
                <a:t>Scrapes Comments</a:t>
              </a:r>
              <a:endParaRPr lang="en-US" sz="1500" dirty="0">
                <a:solidFill>
                  <a:schemeClr val="bg1"/>
                </a:solidFill>
                <a:latin typeface="Open Sans" panose="020B0606030504020204"/>
              </a:endParaRPr>
            </a:p>
          </p:txBody>
        </p:sp>
      </p:grp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995922CA-E225-4EB5-A544-364E45B29371}"/>
              </a:ext>
            </a:extLst>
          </p:cNvPr>
          <p:cNvGrpSpPr/>
          <p:nvPr/>
        </p:nvGrpSpPr>
        <p:grpSpPr>
          <a:xfrm>
            <a:off x="1531939" y="3163321"/>
            <a:ext cx="2429999" cy="929007"/>
            <a:chOff x="1531939" y="3163321"/>
            <a:chExt cx="2429999" cy="929007"/>
          </a:xfrm>
        </p:grpSpPr>
        <p:sp>
          <p:nvSpPr>
            <p:cNvPr id="4" name="Arrow: Pentagon 3"/>
            <p:cNvSpPr/>
            <p:nvPr/>
          </p:nvSpPr>
          <p:spPr bwMode="auto">
            <a:xfrm>
              <a:off x="1531939" y="3163321"/>
              <a:ext cx="2429999" cy="929007"/>
            </a:xfrm>
            <a:prstGeom prst="homePlate">
              <a:avLst>
                <a:gd name="adj" fmla="val 24194"/>
              </a:avLst>
            </a:prstGeom>
            <a:solidFill>
              <a:srgbClr val="2F5597"/>
            </a:solidFill>
            <a:ln w="5715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627087" y="3197856"/>
              <a:ext cx="510096" cy="857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4800" dirty="0">
                  <a:solidFill>
                    <a:schemeClr val="bg1"/>
                  </a:solidFill>
                </a:rPr>
                <a:t>1</a:t>
              </a:r>
              <a:endParaRPr lang="en-US" sz="48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076025" y="3369718"/>
              <a:ext cx="169687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latin typeface="Open Sans"/>
                </a:rPr>
                <a:t>API Implementation</a:t>
              </a:r>
            </a:p>
          </p:txBody>
        </p:sp>
      </p:grpSp>
      <p:cxnSp>
        <p:nvCxnSpPr>
          <p:cNvPr id="24" name="Straight Arrow Connector 23"/>
          <p:cNvCxnSpPr/>
          <p:nvPr/>
        </p:nvCxnSpPr>
        <p:spPr bwMode="auto">
          <a:xfrm flipV="1">
            <a:off x="2816392" y="4216768"/>
            <a:ext cx="0" cy="38958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2F5597"/>
            </a:solidFill>
            <a:prstDash val="solid"/>
            <a:round/>
            <a:headEnd type="none" w="med" len="med"/>
            <a:tailEnd type="oval"/>
          </a:ln>
          <a:effectLst/>
        </p:spPr>
      </p:cxnSp>
      <p:cxnSp>
        <p:nvCxnSpPr>
          <p:cNvPr id="25" name="Straight Arrow Connector 24"/>
          <p:cNvCxnSpPr/>
          <p:nvPr/>
        </p:nvCxnSpPr>
        <p:spPr bwMode="auto">
          <a:xfrm flipV="1">
            <a:off x="7417420" y="4216768"/>
            <a:ext cx="0" cy="38958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FCE33"/>
            </a:solidFill>
            <a:prstDash val="solid"/>
            <a:round/>
            <a:headEnd type="none" w="med" len="med"/>
            <a:tailEnd type="oval"/>
          </a:ln>
          <a:effectLst/>
        </p:spPr>
      </p:cxnSp>
      <p:cxnSp>
        <p:nvCxnSpPr>
          <p:cNvPr id="28" name="Straight Arrow Connector 27"/>
          <p:cNvCxnSpPr/>
          <p:nvPr/>
        </p:nvCxnSpPr>
        <p:spPr bwMode="auto">
          <a:xfrm>
            <a:off x="5008049" y="2554012"/>
            <a:ext cx="0" cy="46450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9E47"/>
            </a:solidFill>
            <a:prstDash val="solid"/>
            <a:round/>
            <a:headEnd type="none" w="med" len="med"/>
            <a:tailEnd type="oval"/>
          </a:ln>
          <a:effectLst/>
        </p:spPr>
      </p:cxnSp>
      <p:cxnSp>
        <p:nvCxnSpPr>
          <p:cNvPr id="29" name="Straight Arrow Connector 28"/>
          <p:cNvCxnSpPr>
            <a:cxnSpLocks/>
          </p:cNvCxnSpPr>
          <p:nvPr/>
        </p:nvCxnSpPr>
        <p:spPr bwMode="auto">
          <a:xfrm>
            <a:off x="9609077" y="2507470"/>
            <a:ext cx="0" cy="51104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73F48"/>
            </a:solidFill>
            <a:prstDash val="solid"/>
            <a:round/>
            <a:headEnd type="none" w="med" len="med"/>
            <a:tailEnd type="oval"/>
          </a:ln>
          <a:effectLst/>
        </p:spPr>
      </p:cxnSp>
      <p:sp>
        <p:nvSpPr>
          <p:cNvPr id="30" name="Rectangle 29"/>
          <p:cNvSpPr/>
          <p:nvPr/>
        </p:nvSpPr>
        <p:spPr bwMode="auto">
          <a:xfrm>
            <a:off x="1568449" y="1195389"/>
            <a:ext cx="4091578" cy="1373141"/>
          </a:xfrm>
          <a:prstGeom prst="rect">
            <a:avLst/>
          </a:prstGeom>
          <a:solidFill>
            <a:srgbClr val="009E47"/>
          </a:solidFill>
          <a:ln w="12700">
            <a:noFill/>
            <a:round/>
            <a:headEnd/>
            <a:tailEnd/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500" dirty="0">
                <a:solidFill>
                  <a:schemeClr val="bg1"/>
                </a:solidFill>
                <a:latin typeface="Open Sans" panose="020B0606030504020204"/>
              </a:rPr>
              <a:t>The Chrome extension scrapes </a:t>
            </a:r>
            <a:r>
              <a:rPr lang="en-US" sz="1500" dirty="0" err="1">
                <a:solidFill>
                  <a:schemeClr val="bg1"/>
                </a:solidFill>
                <a:latin typeface="Open Sans" panose="020B0606030504020204"/>
              </a:rPr>
              <a:t>youtube</a:t>
            </a:r>
            <a:r>
              <a:rPr lang="en-US" sz="1500" dirty="0">
                <a:solidFill>
                  <a:schemeClr val="bg1"/>
                </a:solidFill>
                <a:latin typeface="Open Sans" panose="020B0606030504020204"/>
              </a:rPr>
              <a:t> comments out of the window and sends that information to the Rest API using an HTTP post request.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1568449" y="4611735"/>
            <a:ext cx="4091578" cy="1373141"/>
          </a:xfrm>
          <a:prstGeom prst="rect">
            <a:avLst/>
          </a:prstGeom>
          <a:solidFill>
            <a:srgbClr val="2F5597"/>
          </a:solidFill>
          <a:ln w="12700">
            <a:noFill/>
            <a:round/>
            <a:headEnd/>
            <a:tailEnd/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500" dirty="0">
                <a:solidFill>
                  <a:schemeClr val="bg1"/>
                </a:solidFill>
                <a:latin typeface="Open Sans"/>
              </a:rPr>
              <a:t>Using Google's Natural Language API, it communicates with the Chrome Extension using a Rest API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6571662" y="4611735"/>
            <a:ext cx="4091578" cy="1373141"/>
          </a:xfrm>
          <a:prstGeom prst="rect">
            <a:avLst/>
          </a:prstGeom>
          <a:solidFill>
            <a:srgbClr val="F0CD5E"/>
          </a:solidFill>
          <a:ln w="12700">
            <a:noFill/>
            <a:round/>
            <a:headEnd/>
            <a:tailEnd/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500" dirty="0"/>
              <a:t>Our Rest API then uses the </a:t>
            </a:r>
            <a:r>
              <a:rPr lang="en-US" sz="1500" dirty="0" err="1"/>
              <a:t>analyze_sentiment</a:t>
            </a:r>
            <a:r>
              <a:rPr lang="en-US" sz="1500" dirty="0"/>
              <a:t> method from the Natural Language API to determine if it is a good or bad comment and returns the answer to the client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E14364-C029-4E25-B707-5869739B0771}"/>
              </a:ext>
            </a:extLst>
          </p:cNvPr>
          <p:cNvSpPr/>
          <p:nvPr/>
        </p:nvSpPr>
        <p:spPr bwMode="auto">
          <a:xfrm>
            <a:off x="6531972" y="1195388"/>
            <a:ext cx="4091578" cy="1373141"/>
          </a:xfrm>
          <a:prstGeom prst="rect">
            <a:avLst/>
          </a:prstGeom>
          <a:solidFill>
            <a:srgbClr val="F73F48"/>
          </a:solidFill>
          <a:ln w="12700">
            <a:noFill/>
            <a:round/>
            <a:headEnd/>
            <a:tailEnd/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buClr>
                <a:schemeClr val="tx1"/>
              </a:buClr>
            </a:pPr>
            <a:r>
              <a:rPr lang="en-US" sz="1500" dirty="0">
                <a:solidFill>
                  <a:schemeClr val="bg1"/>
                </a:solidFill>
                <a:latin typeface="Open Sans" panose="020B0606030504020204"/>
              </a:rPr>
              <a:t>Based on the result, the client replaces the negative comment with a positive one.</a:t>
            </a:r>
          </a:p>
        </p:txBody>
      </p:sp>
      <p:grpSp>
        <p:nvGrpSpPr>
          <p:cNvPr id="40" name="Group 32">
            <a:extLst>
              <a:ext uri="{FF2B5EF4-FFF2-40B4-BE49-F238E27FC236}">
                <a16:creationId xmlns:a16="http://schemas.microsoft.com/office/drawing/2014/main" id="{BBB7CEFD-AD51-4B45-8E80-8D8A99FD3797}"/>
              </a:ext>
            </a:extLst>
          </p:cNvPr>
          <p:cNvGrpSpPr/>
          <p:nvPr/>
        </p:nvGrpSpPr>
        <p:grpSpPr>
          <a:xfrm>
            <a:off x="1142966" y="190502"/>
            <a:ext cx="9906069" cy="625878"/>
            <a:chOff x="857224" y="142876"/>
            <a:chExt cx="7429552" cy="46940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F00C75C-0986-4C25-AD5E-315829C347A7}"/>
                </a:ext>
              </a:extLst>
            </p:cNvPr>
            <p:cNvSpPr/>
            <p:nvPr/>
          </p:nvSpPr>
          <p:spPr>
            <a:xfrm>
              <a:off x="857224" y="142876"/>
              <a:ext cx="7429552" cy="469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3467" dirty="0">
                  <a:solidFill>
                    <a:srgbClr val="E1441F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ROCESS</a:t>
              </a:r>
              <a:endParaRPr lang="id-ID" sz="3467" dirty="0">
                <a:solidFill>
                  <a:srgbClr val="E1441F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404B0D5-4F69-4991-88B9-A3A98448E205}"/>
                </a:ext>
              </a:extLst>
            </p:cNvPr>
            <p:cNvCxnSpPr/>
            <p:nvPr/>
          </p:nvCxnSpPr>
          <p:spPr>
            <a:xfrm rot="5400000">
              <a:off x="3635944" y="377049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A01DE6DF-D61D-4EB8-9DEA-46B1DC40ADB5}"/>
                </a:ext>
              </a:extLst>
            </p:cNvPr>
            <p:cNvCxnSpPr/>
            <p:nvPr/>
          </p:nvCxnSpPr>
          <p:spPr>
            <a:xfrm rot="5400000">
              <a:off x="5222572" y="371872"/>
              <a:ext cx="286546" cy="1062"/>
            </a:xfrm>
            <a:prstGeom prst="line">
              <a:avLst/>
            </a:prstGeom>
            <a:ln w="19050">
              <a:solidFill>
                <a:srgbClr val="E1441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470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up)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2" presetClass="exit" presetSubtype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5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9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3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2" presetClass="exit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7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2" presetClass="exit" presetSubtype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1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2" grpId="0" animBg="1"/>
      <p:bldP spid="32" grpId="1" animBg="1"/>
      <p:bldP spid="33" grpId="0" animBg="1"/>
      <p:bldP spid="33" grpId="1" animBg="1"/>
      <p:bldP spid="37" grpId="0" animBg="1"/>
      <p:bldP spid="37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E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A33F337D-9B9E-40D8-BE92-07224B838D3D}"/>
              </a:ext>
            </a:extLst>
          </p:cNvPr>
          <p:cNvSpPr>
            <a:spLocks noEditPoints="1"/>
          </p:cNvSpPr>
          <p:nvPr/>
        </p:nvSpPr>
        <p:spPr bwMode="auto">
          <a:xfrm>
            <a:off x="2503181" y="1260092"/>
            <a:ext cx="9688819" cy="5712548"/>
          </a:xfrm>
          <a:custGeom>
            <a:avLst/>
            <a:gdLst>
              <a:gd name="T0" fmla="*/ 1621 w 5440"/>
              <a:gd name="T1" fmla="*/ 1505 h 2937"/>
              <a:gd name="T2" fmla="*/ 1438 w 5440"/>
              <a:gd name="T3" fmla="*/ 1830 h 2937"/>
              <a:gd name="T4" fmla="*/ 1596 w 5440"/>
              <a:gd name="T5" fmla="*/ 1908 h 2937"/>
              <a:gd name="T6" fmla="*/ 1888 w 5440"/>
              <a:gd name="T7" fmla="*/ 1886 h 2937"/>
              <a:gd name="T8" fmla="*/ 1683 w 5440"/>
              <a:gd name="T9" fmla="*/ 1967 h 2937"/>
              <a:gd name="T10" fmla="*/ 1190 w 5440"/>
              <a:gd name="T11" fmla="*/ 2015 h 2937"/>
              <a:gd name="T12" fmla="*/ 886 w 5440"/>
              <a:gd name="T13" fmla="*/ 2016 h 2937"/>
              <a:gd name="T14" fmla="*/ 601 w 5440"/>
              <a:gd name="T15" fmla="*/ 2525 h 2937"/>
              <a:gd name="T16" fmla="*/ 423 w 5440"/>
              <a:gd name="T17" fmla="*/ 2440 h 2937"/>
              <a:gd name="T18" fmla="*/ 701 w 5440"/>
              <a:gd name="T19" fmla="*/ 1862 h 2937"/>
              <a:gd name="T20" fmla="*/ 874 w 5440"/>
              <a:gd name="T21" fmla="*/ 1692 h 2937"/>
              <a:gd name="T22" fmla="*/ 1389 w 5440"/>
              <a:gd name="T23" fmla="*/ 1704 h 2937"/>
              <a:gd name="T24" fmla="*/ 1696 w 5440"/>
              <a:gd name="T25" fmla="*/ 1266 h 2937"/>
              <a:gd name="T26" fmla="*/ 4310 w 5440"/>
              <a:gd name="T27" fmla="*/ 2203 h 2937"/>
              <a:gd name="T28" fmla="*/ 4186 w 5440"/>
              <a:gd name="T29" fmla="*/ 2059 h 2937"/>
              <a:gd name="T30" fmla="*/ 3828 w 5440"/>
              <a:gd name="T31" fmla="*/ 1701 h 2937"/>
              <a:gd name="T32" fmla="*/ 3542 w 5440"/>
              <a:gd name="T33" fmla="*/ 1946 h 2937"/>
              <a:gd name="T34" fmla="*/ 3508 w 5440"/>
              <a:gd name="T35" fmla="*/ 2308 h 2937"/>
              <a:gd name="T36" fmla="*/ 3508 w 5440"/>
              <a:gd name="T37" fmla="*/ 2787 h 2937"/>
              <a:gd name="T38" fmla="*/ 3432 w 5440"/>
              <a:gd name="T39" fmla="*/ 2401 h 2937"/>
              <a:gd name="T40" fmla="*/ 3084 w 5440"/>
              <a:gd name="T41" fmla="*/ 1897 h 2937"/>
              <a:gd name="T42" fmla="*/ 2687 w 5440"/>
              <a:gd name="T43" fmla="*/ 1827 h 2937"/>
              <a:gd name="T44" fmla="*/ 3192 w 5440"/>
              <a:gd name="T45" fmla="*/ 1836 h 2937"/>
              <a:gd name="T46" fmla="*/ 3537 w 5440"/>
              <a:gd name="T47" fmla="*/ 1777 h 2937"/>
              <a:gd name="T48" fmla="*/ 3616 w 5440"/>
              <a:gd name="T49" fmla="*/ 1360 h 2937"/>
              <a:gd name="T50" fmla="*/ 3400 w 5440"/>
              <a:gd name="T51" fmla="*/ 1262 h 2937"/>
              <a:gd name="T52" fmla="*/ 3110 w 5440"/>
              <a:gd name="T53" fmla="*/ 985 h 2937"/>
              <a:gd name="T54" fmla="*/ 2585 w 5440"/>
              <a:gd name="T55" fmla="*/ 871 h 2937"/>
              <a:gd name="T56" fmla="*/ 2952 w 5440"/>
              <a:gd name="T57" fmla="*/ 696 h 2937"/>
              <a:gd name="T58" fmla="*/ 3141 w 5440"/>
              <a:gd name="T59" fmla="*/ 553 h 2937"/>
              <a:gd name="T60" fmla="*/ 2991 w 5440"/>
              <a:gd name="T61" fmla="*/ 204 h 2937"/>
              <a:gd name="T62" fmla="*/ 2858 w 5440"/>
              <a:gd name="T63" fmla="*/ 178 h 2937"/>
              <a:gd name="T64" fmla="*/ 3271 w 5440"/>
              <a:gd name="T65" fmla="*/ 288 h 2937"/>
              <a:gd name="T66" fmla="*/ 3531 w 5440"/>
              <a:gd name="T67" fmla="*/ 733 h 2937"/>
              <a:gd name="T68" fmla="*/ 3503 w 5440"/>
              <a:gd name="T69" fmla="*/ 957 h 2937"/>
              <a:gd name="T70" fmla="*/ 3924 w 5440"/>
              <a:gd name="T71" fmla="*/ 1327 h 2937"/>
              <a:gd name="T72" fmla="*/ 4232 w 5440"/>
              <a:gd name="T73" fmla="*/ 1854 h 2937"/>
              <a:gd name="T74" fmla="*/ 5201 w 5440"/>
              <a:gd name="T75" fmla="*/ 2678 h 2937"/>
              <a:gd name="T76" fmla="*/ 5151 w 5440"/>
              <a:gd name="T77" fmla="*/ 2641 h 2937"/>
              <a:gd name="T78" fmla="*/ 4916 w 5440"/>
              <a:gd name="T79" fmla="*/ 2192 h 2937"/>
              <a:gd name="T80" fmla="*/ 4885 w 5440"/>
              <a:gd name="T81" fmla="*/ 2021 h 2937"/>
              <a:gd name="T82" fmla="*/ 5196 w 5440"/>
              <a:gd name="T83" fmla="*/ 2586 h 2937"/>
              <a:gd name="T84" fmla="*/ 5278 w 5440"/>
              <a:gd name="T85" fmla="*/ 2742 h 2937"/>
              <a:gd name="T86" fmla="*/ 5090 w 5440"/>
              <a:gd name="T87" fmla="*/ 2450 h 2937"/>
              <a:gd name="T88" fmla="*/ 4831 w 5440"/>
              <a:gd name="T89" fmla="*/ 1976 h 2937"/>
              <a:gd name="T90" fmla="*/ 4350 w 5440"/>
              <a:gd name="T91" fmla="*/ 2023 h 2937"/>
              <a:gd name="T92" fmla="*/ 4065 w 5440"/>
              <a:gd name="T93" fmla="*/ 1496 h 2937"/>
              <a:gd name="T94" fmla="*/ 3845 w 5440"/>
              <a:gd name="T95" fmla="*/ 859 h 2937"/>
              <a:gd name="T96" fmla="*/ 3457 w 5440"/>
              <a:gd name="T97" fmla="*/ 464 h 2937"/>
              <a:gd name="T98" fmla="*/ 3151 w 5440"/>
              <a:gd name="T99" fmla="*/ 122 h 2937"/>
              <a:gd name="T100" fmla="*/ 2757 w 5440"/>
              <a:gd name="T101" fmla="*/ 193 h 2937"/>
              <a:gd name="T102" fmla="*/ 2382 w 5440"/>
              <a:gd name="T103" fmla="*/ 332 h 2937"/>
              <a:gd name="T104" fmla="*/ 1948 w 5440"/>
              <a:gd name="T105" fmla="*/ 776 h 2937"/>
              <a:gd name="T106" fmla="*/ 1712 w 5440"/>
              <a:gd name="T107" fmla="*/ 1193 h 2937"/>
              <a:gd name="T108" fmla="*/ 1213 w 5440"/>
              <a:gd name="T109" fmla="*/ 1734 h 2937"/>
              <a:gd name="T110" fmla="*/ 718 w 5440"/>
              <a:gd name="T111" fmla="*/ 1738 h 2937"/>
              <a:gd name="T112" fmla="*/ 591 w 5440"/>
              <a:gd name="T113" fmla="*/ 2113 h 2937"/>
              <a:gd name="T114" fmla="*/ 260 w 5440"/>
              <a:gd name="T115" fmla="*/ 2516 h 29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440" h="2937">
                <a:moveTo>
                  <a:pt x="1918" y="1227"/>
                </a:moveTo>
                <a:cubicBezTo>
                  <a:pt x="1912" y="1262"/>
                  <a:pt x="1878" y="1276"/>
                  <a:pt x="1849" y="1280"/>
                </a:cubicBezTo>
                <a:cubicBezTo>
                  <a:pt x="1844" y="1280"/>
                  <a:pt x="1840" y="1281"/>
                  <a:pt x="1835" y="1281"/>
                </a:cubicBezTo>
                <a:cubicBezTo>
                  <a:pt x="1831" y="1282"/>
                  <a:pt x="1826" y="1282"/>
                  <a:pt x="1822" y="1283"/>
                </a:cubicBezTo>
                <a:cubicBezTo>
                  <a:pt x="1816" y="1284"/>
                  <a:pt x="1811" y="1284"/>
                  <a:pt x="1805" y="1285"/>
                </a:cubicBezTo>
                <a:cubicBezTo>
                  <a:pt x="1767" y="1289"/>
                  <a:pt x="1728" y="1300"/>
                  <a:pt x="1691" y="1315"/>
                </a:cubicBezTo>
                <a:cubicBezTo>
                  <a:pt x="1687" y="1317"/>
                  <a:pt x="1684" y="1321"/>
                  <a:pt x="1681" y="1325"/>
                </a:cubicBezTo>
                <a:cubicBezTo>
                  <a:pt x="1662" y="1367"/>
                  <a:pt x="1681" y="1421"/>
                  <a:pt x="1664" y="1457"/>
                </a:cubicBezTo>
                <a:cubicBezTo>
                  <a:pt x="1662" y="1461"/>
                  <a:pt x="1660" y="1465"/>
                  <a:pt x="1657" y="1469"/>
                </a:cubicBezTo>
                <a:cubicBezTo>
                  <a:pt x="1649" y="1477"/>
                  <a:pt x="1641" y="1485"/>
                  <a:pt x="1633" y="1493"/>
                </a:cubicBezTo>
                <a:cubicBezTo>
                  <a:pt x="1629" y="1497"/>
                  <a:pt x="1625" y="1501"/>
                  <a:pt x="1621" y="1505"/>
                </a:cubicBezTo>
                <a:cubicBezTo>
                  <a:pt x="1615" y="1515"/>
                  <a:pt x="1611" y="1526"/>
                  <a:pt x="1607" y="1537"/>
                </a:cubicBezTo>
                <a:cubicBezTo>
                  <a:pt x="1604" y="1543"/>
                  <a:pt x="1602" y="1548"/>
                  <a:pt x="1601" y="1554"/>
                </a:cubicBezTo>
                <a:cubicBezTo>
                  <a:pt x="1589" y="1582"/>
                  <a:pt x="1576" y="1608"/>
                  <a:pt x="1567" y="1635"/>
                </a:cubicBezTo>
                <a:cubicBezTo>
                  <a:pt x="1565" y="1638"/>
                  <a:pt x="1563" y="1643"/>
                  <a:pt x="1562" y="1647"/>
                </a:cubicBezTo>
                <a:cubicBezTo>
                  <a:pt x="1560" y="1652"/>
                  <a:pt x="1559" y="1657"/>
                  <a:pt x="1558" y="1663"/>
                </a:cubicBezTo>
                <a:cubicBezTo>
                  <a:pt x="1551" y="1702"/>
                  <a:pt x="1523" y="1724"/>
                  <a:pt x="1493" y="1744"/>
                </a:cubicBezTo>
                <a:cubicBezTo>
                  <a:pt x="1488" y="1748"/>
                  <a:pt x="1484" y="1751"/>
                  <a:pt x="1479" y="1755"/>
                </a:cubicBezTo>
                <a:cubicBezTo>
                  <a:pt x="1467" y="1761"/>
                  <a:pt x="1465" y="1772"/>
                  <a:pt x="1465" y="1784"/>
                </a:cubicBezTo>
                <a:cubicBezTo>
                  <a:pt x="1465" y="1788"/>
                  <a:pt x="1465" y="1792"/>
                  <a:pt x="1465" y="1795"/>
                </a:cubicBezTo>
                <a:cubicBezTo>
                  <a:pt x="1465" y="1802"/>
                  <a:pt x="1464" y="1807"/>
                  <a:pt x="1462" y="1812"/>
                </a:cubicBezTo>
                <a:cubicBezTo>
                  <a:pt x="1455" y="1816"/>
                  <a:pt x="1446" y="1825"/>
                  <a:pt x="1438" y="1830"/>
                </a:cubicBezTo>
                <a:cubicBezTo>
                  <a:pt x="1433" y="1832"/>
                  <a:pt x="1428" y="1833"/>
                  <a:pt x="1423" y="1834"/>
                </a:cubicBezTo>
                <a:cubicBezTo>
                  <a:pt x="1419" y="1835"/>
                  <a:pt x="1415" y="1836"/>
                  <a:pt x="1410" y="1838"/>
                </a:cubicBezTo>
                <a:cubicBezTo>
                  <a:pt x="1406" y="1839"/>
                  <a:pt x="1401" y="1840"/>
                  <a:pt x="1397" y="1842"/>
                </a:cubicBezTo>
                <a:cubicBezTo>
                  <a:pt x="1389" y="1843"/>
                  <a:pt x="1382" y="1847"/>
                  <a:pt x="1376" y="1852"/>
                </a:cubicBezTo>
                <a:cubicBezTo>
                  <a:pt x="1373" y="1855"/>
                  <a:pt x="1371" y="1857"/>
                  <a:pt x="1368" y="1860"/>
                </a:cubicBezTo>
                <a:cubicBezTo>
                  <a:pt x="1343" y="1878"/>
                  <a:pt x="1351" y="1914"/>
                  <a:pt x="1369" y="1936"/>
                </a:cubicBezTo>
                <a:cubicBezTo>
                  <a:pt x="1390" y="1954"/>
                  <a:pt x="1407" y="1927"/>
                  <a:pt x="1423" y="1927"/>
                </a:cubicBezTo>
                <a:cubicBezTo>
                  <a:pt x="1428" y="1925"/>
                  <a:pt x="1433" y="1924"/>
                  <a:pt x="1439" y="1923"/>
                </a:cubicBezTo>
                <a:cubicBezTo>
                  <a:pt x="1466" y="1916"/>
                  <a:pt x="1494" y="1916"/>
                  <a:pt x="1524" y="1919"/>
                </a:cubicBezTo>
                <a:cubicBezTo>
                  <a:pt x="1529" y="1919"/>
                  <a:pt x="1534" y="1918"/>
                  <a:pt x="1539" y="1917"/>
                </a:cubicBezTo>
                <a:cubicBezTo>
                  <a:pt x="1558" y="1915"/>
                  <a:pt x="1577" y="1911"/>
                  <a:pt x="1596" y="1908"/>
                </a:cubicBezTo>
                <a:cubicBezTo>
                  <a:pt x="1601" y="1908"/>
                  <a:pt x="1607" y="1908"/>
                  <a:pt x="1612" y="1908"/>
                </a:cubicBezTo>
                <a:cubicBezTo>
                  <a:pt x="1661" y="1909"/>
                  <a:pt x="1705" y="1937"/>
                  <a:pt x="1756" y="1941"/>
                </a:cubicBezTo>
                <a:cubicBezTo>
                  <a:pt x="1762" y="1942"/>
                  <a:pt x="1767" y="1942"/>
                  <a:pt x="1773" y="1942"/>
                </a:cubicBezTo>
                <a:cubicBezTo>
                  <a:pt x="1801" y="1940"/>
                  <a:pt x="1827" y="1929"/>
                  <a:pt x="1849" y="1900"/>
                </a:cubicBezTo>
                <a:cubicBezTo>
                  <a:pt x="1873" y="1869"/>
                  <a:pt x="1894" y="1833"/>
                  <a:pt x="1921" y="1805"/>
                </a:cubicBezTo>
                <a:cubicBezTo>
                  <a:pt x="1924" y="1802"/>
                  <a:pt x="1927" y="1800"/>
                  <a:pt x="1930" y="1797"/>
                </a:cubicBezTo>
                <a:cubicBezTo>
                  <a:pt x="1934" y="1790"/>
                  <a:pt x="1938" y="1781"/>
                  <a:pt x="1938" y="1772"/>
                </a:cubicBezTo>
                <a:cubicBezTo>
                  <a:pt x="1938" y="1776"/>
                  <a:pt x="1938" y="1781"/>
                  <a:pt x="1937" y="1785"/>
                </a:cubicBezTo>
                <a:cubicBezTo>
                  <a:pt x="1933" y="1796"/>
                  <a:pt x="1929" y="1807"/>
                  <a:pt x="1925" y="1818"/>
                </a:cubicBezTo>
                <a:cubicBezTo>
                  <a:pt x="1924" y="1822"/>
                  <a:pt x="1923" y="1825"/>
                  <a:pt x="1922" y="1829"/>
                </a:cubicBezTo>
                <a:cubicBezTo>
                  <a:pt x="1912" y="1852"/>
                  <a:pt x="1895" y="1865"/>
                  <a:pt x="1888" y="1886"/>
                </a:cubicBezTo>
                <a:cubicBezTo>
                  <a:pt x="1886" y="1890"/>
                  <a:pt x="1884" y="1895"/>
                  <a:pt x="1882" y="1899"/>
                </a:cubicBezTo>
                <a:cubicBezTo>
                  <a:pt x="1880" y="1904"/>
                  <a:pt x="1878" y="1908"/>
                  <a:pt x="1876" y="1911"/>
                </a:cubicBezTo>
                <a:cubicBezTo>
                  <a:pt x="1874" y="1914"/>
                  <a:pt x="1871" y="1916"/>
                  <a:pt x="1869" y="1919"/>
                </a:cubicBezTo>
                <a:cubicBezTo>
                  <a:pt x="1856" y="1932"/>
                  <a:pt x="1847" y="1940"/>
                  <a:pt x="1834" y="1953"/>
                </a:cubicBezTo>
                <a:cubicBezTo>
                  <a:pt x="1830" y="1955"/>
                  <a:pt x="1827" y="1956"/>
                  <a:pt x="1823" y="1958"/>
                </a:cubicBezTo>
                <a:cubicBezTo>
                  <a:pt x="1820" y="1959"/>
                  <a:pt x="1816" y="1960"/>
                  <a:pt x="1811" y="1960"/>
                </a:cubicBezTo>
                <a:cubicBezTo>
                  <a:pt x="1805" y="1960"/>
                  <a:pt x="1798" y="1961"/>
                  <a:pt x="1791" y="1963"/>
                </a:cubicBezTo>
                <a:cubicBezTo>
                  <a:pt x="1785" y="1962"/>
                  <a:pt x="1779" y="1961"/>
                  <a:pt x="1773" y="1960"/>
                </a:cubicBezTo>
                <a:cubicBezTo>
                  <a:pt x="1740" y="1958"/>
                  <a:pt x="1709" y="1958"/>
                  <a:pt x="1675" y="1963"/>
                </a:cubicBezTo>
                <a:cubicBezTo>
                  <a:pt x="1683" y="1971"/>
                  <a:pt x="1696" y="1963"/>
                  <a:pt x="1705" y="1963"/>
                </a:cubicBezTo>
                <a:cubicBezTo>
                  <a:pt x="1696" y="1963"/>
                  <a:pt x="1688" y="1963"/>
                  <a:pt x="1683" y="1967"/>
                </a:cubicBezTo>
                <a:cubicBezTo>
                  <a:pt x="1680" y="1972"/>
                  <a:pt x="1676" y="1977"/>
                  <a:pt x="1672" y="1981"/>
                </a:cubicBezTo>
                <a:cubicBezTo>
                  <a:pt x="1668" y="1986"/>
                  <a:pt x="1664" y="1989"/>
                  <a:pt x="1659" y="1993"/>
                </a:cubicBezTo>
                <a:cubicBezTo>
                  <a:pt x="1649" y="2002"/>
                  <a:pt x="1640" y="2007"/>
                  <a:pt x="1627" y="2007"/>
                </a:cubicBezTo>
                <a:cubicBezTo>
                  <a:pt x="1599" y="2002"/>
                  <a:pt x="1572" y="1999"/>
                  <a:pt x="1547" y="2003"/>
                </a:cubicBezTo>
                <a:cubicBezTo>
                  <a:pt x="1542" y="2003"/>
                  <a:pt x="1537" y="2004"/>
                  <a:pt x="1532" y="2006"/>
                </a:cubicBezTo>
                <a:cubicBezTo>
                  <a:pt x="1476" y="2007"/>
                  <a:pt x="1446" y="2065"/>
                  <a:pt x="1404" y="2084"/>
                </a:cubicBezTo>
                <a:cubicBezTo>
                  <a:pt x="1399" y="2086"/>
                  <a:pt x="1394" y="2086"/>
                  <a:pt x="1389" y="2087"/>
                </a:cubicBezTo>
                <a:cubicBezTo>
                  <a:pt x="1382" y="2087"/>
                  <a:pt x="1375" y="2087"/>
                  <a:pt x="1369" y="2085"/>
                </a:cubicBezTo>
                <a:cubicBezTo>
                  <a:pt x="1363" y="2083"/>
                  <a:pt x="1357" y="2079"/>
                  <a:pt x="1351" y="2073"/>
                </a:cubicBezTo>
                <a:cubicBezTo>
                  <a:pt x="1317" y="2038"/>
                  <a:pt x="1274" y="2033"/>
                  <a:pt x="1226" y="2042"/>
                </a:cubicBezTo>
                <a:cubicBezTo>
                  <a:pt x="1209" y="2042"/>
                  <a:pt x="1205" y="2025"/>
                  <a:pt x="1190" y="2015"/>
                </a:cubicBezTo>
                <a:cubicBezTo>
                  <a:pt x="1186" y="2012"/>
                  <a:pt x="1182" y="2009"/>
                  <a:pt x="1178" y="2006"/>
                </a:cubicBezTo>
                <a:cubicBezTo>
                  <a:pt x="1157" y="1991"/>
                  <a:pt x="1134" y="1981"/>
                  <a:pt x="1110" y="1967"/>
                </a:cubicBezTo>
                <a:cubicBezTo>
                  <a:pt x="1097" y="1958"/>
                  <a:pt x="1093" y="1949"/>
                  <a:pt x="1090" y="1936"/>
                </a:cubicBezTo>
                <a:cubicBezTo>
                  <a:pt x="1087" y="1931"/>
                  <a:pt x="1084" y="1925"/>
                  <a:pt x="1080" y="1919"/>
                </a:cubicBezTo>
                <a:cubicBezTo>
                  <a:pt x="1077" y="1914"/>
                  <a:pt x="1073" y="1909"/>
                  <a:pt x="1069" y="1904"/>
                </a:cubicBezTo>
                <a:cubicBezTo>
                  <a:pt x="1066" y="1902"/>
                  <a:pt x="1062" y="1901"/>
                  <a:pt x="1058" y="1901"/>
                </a:cubicBezTo>
                <a:cubicBezTo>
                  <a:pt x="1047" y="1901"/>
                  <a:pt x="1035" y="1902"/>
                  <a:pt x="1024" y="1903"/>
                </a:cubicBezTo>
                <a:cubicBezTo>
                  <a:pt x="1018" y="1904"/>
                  <a:pt x="1013" y="1904"/>
                  <a:pt x="1007" y="1904"/>
                </a:cubicBezTo>
                <a:cubicBezTo>
                  <a:pt x="976" y="1901"/>
                  <a:pt x="937" y="1870"/>
                  <a:pt x="920" y="1909"/>
                </a:cubicBezTo>
                <a:cubicBezTo>
                  <a:pt x="917" y="1913"/>
                  <a:pt x="915" y="1918"/>
                  <a:pt x="913" y="1924"/>
                </a:cubicBezTo>
                <a:cubicBezTo>
                  <a:pt x="903" y="1952"/>
                  <a:pt x="902" y="1988"/>
                  <a:pt x="886" y="2016"/>
                </a:cubicBezTo>
                <a:cubicBezTo>
                  <a:pt x="877" y="2025"/>
                  <a:pt x="868" y="2029"/>
                  <a:pt x="861" y="2034"/>
                </a:cubicBezTo>
                <a:cubicBezTo>
                  <a:pt x="857" y="2037"/>
                  <a:pt x="853" y="2040"/>
                  <a:pt x="850" y="2044"/>
                </a:cubicBezTo>
                <a:cubicBezTo>
                  <a:pt x="846" y="2047"/>
                  <a:pt x="844" y="2051"/>
                  <a:pt x="842" y="2056"/>
                </a:cubicBezTo>
                <a:cubicBezTo>
                  <a:pt x="830" y="2109"/>
                  <a:pt x="860" y="2162"/>
                  <a:pt x="889" y="2206"/>
                </a:cubicBezTo>
                <a:cubicBezTo>
                  <a:pt x="892" y="2212"/>
                  <a:pt x="895" y="2218"/>
                  <a:pt x="896" y="2223"/>
                </a:cubicBezTo>
                <a:cubicBezTo>
                  <a:pt x="907" y="2274"/>
                  <a:pt x="851" y="2321"/>
                  <a:pt x="811" y="2354"/>
                </a:cubicBezTo>
                <a:cubicBezTo>
                  <a:pt x="807" y="2358"/>
                  <a:pt x="804" y="2363"/>
                  <a:pt x="801" y="2368"/>
                </a:cubicBezTo>
                <a:cubicBezTo>
                  <a:pt x="798" y="2372"/>
                  <a:pt x="795" y="2377"/>
                  <a:pt x="791" y="2379"/>
                </a:cubicBezTo>
                <a:cubicBezTo>
                  <a:pt x="709" y="2388"/>
                  <a:pt x="679" y="2463"/>
                  <a:pt x="630" y="2516"/>
                </a:cubicBezTo>
                <a:cubicBezTo>
                  <a:pt x="626" y="2518"/>
                  <a:pt x="621" y="2521"/>
                  <a:pt x="616" y="2522"/>
                </a:cubicBezTo>
                <a:cubicBezTo>
                  <a:pt x="611" y="2524"/>
                  <a:pt x="606" y="2525"/>
                  <a:pt x="601" y="2525"/>
                </a:cubicBezTo>
                <a:cubicBezTo>
                  <a:pt x="554" y="2525"/>
                  <a:pt x="493" y="2552"/>
                  <a:pt x="457" y="2508"/>
                </a:cubicBezTo>
                <a:cubicBezTo>
                  <a:pt x="454" y="2506"/>
                  <a:pt x="451" y="2503"/>
                  <a:pt x="447" y="2501"/>
                </a:cubicBezTo>
                <a:cubicBezTo>
                  <a:pt x="437" y="2493"/>
                  <a:pt x="427" y="2485"/>
                  <a:pt x="416" y="2479"/>
                </a:cubicBezTo>
                <a:cubicBezTo>
                  <a:pt x="410" y="2476"/>
                  <a:pt x="405" y="2473"/>
                  <a:pt x="399" y="2471"/>
                </a:cubicBezTo>
                <a:cubicBezTo>
                  <a:pt x="392" y="2465"/>
                  <a:pt x="384" y="2463"/>
                  <a:pt x="376" y="2463"/>
                </a:cubicBezTo>
                <a:cubicBezTo>
                  <a:pt x="372" y="2462"/>
                  <a:pt x="368" y="2463"/>
                  <a:pt x="364" y="2463"/>
                </a:cubicBezTo>
                <a:cubicBezTo>
                  <a:pt x="360" y="2463"/>
                  <a:pt x="356" y="2464"/>
                  <a:pt x="352" y="2464"/>
                </a:cubicBezTo>
                <a:cubicBezTo>
                  <a:pt x="355" y="2460"/>
                  <a:pt x="360" y="2458"/>
                  <a:pt x="364" y="2455"/>
                </a:cubicBezTo>
                <a:cubicBezTo>
                  <a:pt x="369" y="2453"/>
                  <a:pt x="374" y="2452"/>
                  <a:pt x="379" y="2451"/>
                </a:cubicBezTo>
                <a:cubicBezTo>
                  <a:pt x="389" y="2448"/>
                  <a:pt x="398" y="2446"/>
                  <a:pt x="407" y="2441"/>
                </a:cubicBezTo>
                <a:cubicBezTo>
                  <a:pt x="412" y="2441"/>
                  <a:pt x="418" y="2441"/>
                  <a:pt x="423" y="2440"/>
                </a:cubicBezTo>
                <a:cubicBezTo>
                  <a:pt x="450" y="2440"/>
                  <a:pt x="478" y="2443"/>
                  <a:pt x="505" y="2440"/>
                </a:cubicBezTo>
                <a:cubicBezTo>
                  <a:pt x="511" y="2439"/>
                  <a:pt x="516" y="2438"/>
                  <a:pt x="522" y="2437"/>
                </a:cubicBezTo>
                <a:cubicBezTo>
                  <a:pt x="555" y="2428"/>
                  <a:pt x="584" y="2413"/>
                  <a:pt x="609" y="2390"/>
                </a:cubicBezTo>
                <a:cubicBezTo>
                  <a:pt x="613" y="2385"/>
                  <a:pt x="618" y="2381"/>
                  <a:pt x="622" y="2376"/>
                </a:cubicBezTo>
                <a:cubicBezTo>
                  <a:pt x="670" y="2335"/>
                  <a:pt x="692" y="2264"/>
                  <a:pt x="639" y="2218"/>
                </a:cubicBezTo>
                <a:cubicBezTo>
                  <a:pt x="636" y="2212"/>
                  <a:pt x="634" y="2206"/>
                  <a:pt x="632" y="2200"/>
                </a:cubicBezTo>
                <a:cubicBezTo>
                  <a:pt x="623" y="2170"/>
                  <a:pt x="628" y="2137"/>
                  <a:pt x="644" y="2110"/>
                </a:cubicBezTo>
                <a:cubicBezTo>
                  <a:pt x="647" y="2106"/>
                  <a:pt x="650" y="2101"/>
                  <a:pt x="653" y="2096"/>
                </a:cubicBezTo>
                <a:cubicBezTo>
                  <a:pt x="673" y="2068"/>
                  <a:pt x="688" y="2038"/>
                  <a:pt x="696" y="1998"/>
                </a:cubicBezTo>
                <a:cubicBezTo>
                  <a:pt x="696" y="1993"/>
                  <a:pt x="697" y="1987"/>
                  <a:pt x="697" y="1981"/>
                </a:cubicBezTo>
                <a:cubicBezTo>
                  <a:pt x="698" y="1942"/>
                  <a:pt x="693" y="1900"/>
                  <a:pt x="701" y="1862"/>
                </a:cubicBezTo>
                <a:cubicBezTo>
                  <a:pt x="703" y="1857"/>
                  <a:pt x="705" y="1852"/>
                  <a:pt x="706" y="1847"/>
                </a:cubicBezTo>
                <a:cubicBezTo>
                  <a:pt x="707" y="1842"/>
                  <a:pt x="708" y="1836"/>
                  <a:pt x="709" y="1831"/>
                </a:cubicBezTo>
                <a:cubicBezTo>
                  <a:pt x="710" y="1826"/>
                  <a:pt x="711" y="1821"/>
                  <a:pt x="713" y="1816"/>
                </a:cubicBezTo>
                <a:cubicBezTo>
                  <a:pt x="717" y="1808"/>
                  <a:pt x="726" y="1803"/>
                  <a:pt x="733" y="1797"/>
                </a:cubicBezTo>
                <a:cubicBezTo>
                  <a:pt x="738" y="1794"/>
                  <a:pt x="742" y="1792"/>
                  <a:pt x="747" y="1789"/>
                </a:cubicBezTo>
                <a:cubicBezTo>
                  <a:pt x="751" y="1786"/>
                  <a:pt x="754" y="1783"/>
                  <a:pt x="756" y="1781"/>
                </a:cubicBezTo>
                <a:cubicBezTo>
                  <a:pt x="769" y="1759"/>
                  <a:pt x="773" y="1732"/>
                  <a:pt x="792" y="1716"/>
                </a:cubicBezTo>
                <a:cubicBezTo>
                  <a:pt x="796" y="1712"/>
                  <a:pt x="801" y="1709"/>
                  <a:pt x="805" y="1705"/>
                </a:cubicBezTo>
                <a:cubicBezTo>
                  <a:pt x="809" y="1701"/>
                  <a:pt x="813" y="1697"/>
                  <a:pt x="817" y="1692"/>
                </a:cubicBezTo>
                <a:cubicBezTo>
                  <a:pt x="821" y="1689"/>
                  <a:pt x="826" y="1688"/>
                  <a:pt x="831" y="1687"/>
                </a:cubicBezTo>
                <a:cubicBezTo>
                  <a:pt x="844" y="1685"/>
                  <a:pt x="859" y="1689"/>
                  <a:pt x="874" y="1692"/>
                </a:cubicBezTo>
                <a:cubicBezTo>
                  <a:pt x="880" y="1693"/>
                  <a:pt x="885" y="1694"/>
                  <a:pt x="890" y="1694"/>
                </a:cubicBezTo>
                <a:cubicBezTo>
                  <a:pt x="933" y="1688"/>
                  <a:pt x="980" y="1679"/>
                  <a:pt x="1024" y="1701"/>
                </a:cubicBezTo>
                <a:cubicBezTo>
                  <a:pt x="1054" y="1719"/>
                  <a:pt x="1028" y="1759"/>
                  <a:pt x="1040" y="1784"/>
                </a:cubicBezTo>
                <a:cubicBezTo>
                  <a:pt x="1042" y="1788"/>
                  <a:pt x="1045" y="1791"/>
                  <a:pt x="1049" y="1794"/>
                </a:cubicBezTo>
                <a:cubicBezTo>
                  <a:pt x="1056" y="1799"/>
                  <a:pt x="1067" y="1802"/>
                  <a:pt x="1082" y="1801"/>
                </a:cubicBezTo>
                <a:cubicBezTo>
                  <a:pt x="1087" y="1801"/>
                  <a:pt x="1092" y="1802"/>
                  <a:pt x="1096" y="1802"/>
                </a:cubicBezTo>
                <a:cubicBezTo>
                  <a:pt x="1125" y="1801"/>
                  <a:pt x="1153" y="1799"/>
                  <a:pt x="1181" y="1799"/>
                </a:cubicBezTo>
                <a:cubicBezTo>
                  <a:pt x="1185" y="1799"/>
                  <a:pt x="1190" y="1800"/>
                  <a:pt x="1195" y="1799"/>
                </a:cubicBezTo>
                <a:cubicBezTo>
                  <a:pt x="1226" y="1799"/>
                  <a:pt x="1257" y="1784"/>
                  <a:pt x="1289" y="1776"/>
                </a:cubicBezTo>
                <a:cubicBezTo>
                  <a:pt x="1295" y="1773"/>
                  <a:pt x="1301" y="1770"/>
                  <a:pt x="1307" y="1767"/>
                </a:cubicBezTo>
                <a:cubicBezTo>
                  <a:pt x="1338" y="1751"/>
                  <a:pt x="1366" y="1730"/>
                  <a:pt x="1389" y="1704"/>
                </a:cubicBezTo>
                <a:cubicBezTo>
                  <a:pt x="1392" y="1701"/>
                  <a:pt x="1395" y="1697"/>
                  <a:pt x="1398" y="1693"/>
                </a:cubicBezTo>
                <a:cubicBezTo>
                  <a:pt x="1416" y="1670"/>
                  <a:pt x="1433" y="1648"/>
                  <a:pt x="1438" y="1621"/>
                </a:cubicBezTo>
                <a:cubicBezTo>
                  <a:pt x="1440" y="1616"/>
                  <a:pt x="1441" y="1611"/>
                  <a:pt x="1443" y="1606"/>
                </a:cubicBezTo>
                <a:cubicBezTo>
                  <a:pt x="1456" y="1564"/>
                  <a:pt x="1469" y="1524"/>
                  <a:pt x="1510" y="1505"/>
                </a:cubicBezTo>
                <a:cubicBezTo>
                  <a:pt x="1514" y="1502"/>
                  <a:pt x="1518" y="1498"/>
                  <a:pt x="1521" y="1495"/>
                </a:cubicBezTo>
                <a:cubicBezTo>
                  <a:pt x="1532" y="1484"/>
                  <a:pt x="1542" y="1472"/>
                  <a:pt x="1551" y="1457"/>
                </a:cubicBezTo>
                <a:cubicBezTo>
                  <a:pt x="1553" y="1454"/>
                  <a:pt x="1556" y="1450"/>
                  <a:pt x="1558" y="1446"/>
                </a:cubicBezTo>
                <a:cubicBezTo>
                  <a:pt x="1593" y="1409"/>
                  <a:pt x="1610" y="1373"/>
                  <a:pt x="1621" y="1320"/>
                </a:cubicBezTo>
                <a:cubicBezTo>
                  <a:pt x="1623" y="1315"/>
                  <a:pt x="1626" y="1310"/>
                  <a:pt x="1630" y="1305"/>
                </a:cubicBezTo>
                <a:cubicBezTo>
                  <a:pt x="1643" y="1287"/>
                  <a:pt x="1661" y="1275"/>
                  <a:pt x="1682" y="1269"/>
                </a:cubicBezTo>
                <a:cubicBezTo>
                  <a:pt x="1686" y="1268"/>
                  <a:pt x="1691" y="1267"/>
                  <a:pt x="1696" y="1266"/>
                </a:cubicBezTo>
                <a:cubicBezTo>
                  <a:pt x="1724" y="1260"/>
                  <a:pt x="1752" y="1260"/>
                  <a:pt x="1780" y="1261"/>
                </a:cubicBezTo>
                <a:cubicBezTo>
                  <a:pt x="1786" y="1261"/>
                  <a:pt x="1791" y="1261"/>
                  <a:pt x="1797" y="1261"/>
                </a:cubicBezTo>
                <a:cubicBezTo>
                  <a:pt x="1807" y="1263"/>
                  <a:pt x="1817" y="1263"/>
                  <a:pt x="1827" y="1262"/>
                </a:cubicBezTo>
                <a:cubicBezTo>
                  <a:pt x="1832" y="1261"/>
                  <a:pt x="1837" y="1260"/>
                  <a:pt x="1842" y="1259"/>
                </a:cubicBezTo>
                <a:cubicBezTo>
                  <a:pt x="1869" y="1249"/>
                  <a:pt x="1890" y="1240"/>
                  <a:pt x="1916" y="1230"/>
                </a:cubicBezTo>
                <a:cubicBezTo>
                  <a:pt x="1917" y="1229"/>
                  <a:pt x="1918" y="1228"/>
                  <a:pt x="1918" y="1227"/>
                </a:cubicBezTo>
                <a:moveTo>
                  <a:pt x="4382" y="2179"/>
                </a:moveTo>
                <a:cubicBezTo>
                  <a:pt x="4370" y="2189"/>
                  <a:pt x="4375" y="2206"/>
                  <a:pt x="4376" y="2219"/>
                </a:cubicBezTo>
                <a:cubicBezTo>
                  <a:pt x="4378" y="2224"/>
                  <a:pt x="4380" y="2228"/>
                  <a:pt x="4383" y="2233"/>
                </a:cubicBezTo>
                <a:cubicBezTo>
                  <a:pt x="4422" y="2277"/>
                  <a:pt x="4482" y="2259"/>
                  <a:pt x="4534" y="2277"/>
                </a:cubicBezTo>
                <a:cubicBezTo>
                  <a:pt x="4452" y="2304"/>
                  <a:pt x="4357" y="2277"/>
                  <a:pt x="4310" y="2203"/>
                </a:cubicBezTo>
                <a:cubicBezTo>
                  <a:pt x="4307" y="2200"/>
                  <a:pt x="4305" y="2196"/>
                  <a:pt x="4302" y="2192"/>
                </a:cubicBezTo>
                <a:cubicBezTo>
                  <a:pt x="4290" y="2173"/>
                  <a:pt x="4275" y="2153"/>
                  <a:pt x="4255" y="2144"/>
                </a:cubicBezTo>
                <a:cubicBezTo>
                  <a:pt x="4253" y="2143"/>
                  <a:pt x="4252" y="2142"/>
                  <a:pt x="4250" y="2141"/>
                </a:cubicBezTo>
                <a:cubicBezTo>
                  <a:pt x="4237" y="2135"/>
                  <a:pt x="4222" y="2132"/>
                  <a:pt x="4210" y="2123"/>
                </a:cubicBezTo>
                <a:cubicBezTo>
                  <a:pt x="4209" y="2122"/>
                  <a:pt x="4207" y="2121"/>
                  <a:pt x="4206" y="2121"/>
                </a:cubicBezTo>
                <a:cubicBezTo>
                  <a:pt x="4204" y="2119"/>
                  <a:pt x="4202" y="2117"/>
                  <a:pt x="4200" y="2116"/>
                </a:cubicBezTo>
                <a:cubicBezTo>
                  <a:pt x="4196" y="2113"/>
                  <a:pt x="4193" y="2109"/>
                  <a:pt x="4190" y="2106"/>
                </a:cubicBezTo>
                <a:cubicBezTo>
                  <a:pt x="4189" y="2105"/>
                  <a:pt x="4189" y="2104"/>
                  <a:pt x="4188" y="2103"/>
                </a:cubicBezTo>
                <a:cubicBezTo>
                  <a:pt x="4184" y="2096"/>
                  <a:pt x="4181" y="2089"/>
                  <a:pt x="4180" y="2082"/>
                </a:cubicBezTo>
                <a:cubicBezTo>
                  <a:pt x="4180" y="2078"/>
                  <a:pt x="4179" y="2074"/>
                  <a:pt x="4179" y="2071"/>
                </a:cubicBezTo>
                <a:cubicBezTo>
                  <a:pt x="4181" y="2067"/>
                  <a:pt x="4184" y="2063"/>
                  <a:pt x="4186" y="2059"/>
                </a:cubicBezTo>
                <a:cubicBezTo>
                  <a:pt x="4237" y="2025"/>
                  <a:pt x="4202" y="1976"/>
                  <a:pt x="4193" y="1927"/>
                </a:cubicBezTo>
                <a:cubicBezTo>
                  <a:pt x="4189" y="1905"/>
                  <a:pt x="4159" y="1909"/>
                  <a:pt x="4142" y="1896"/>
                </a:cubicBezTo>
                <a:cubicBezTo>
                  <a:pt x="4137" y="1892"/>
                  <a:pt x="4133" y="1888"/>
                  <a:pt x="4129" y="1883"/>
                </a:cubicBezTo>
                <a:cubicBezTo>
                  <a:pt x="4126" y="1879"/>
                  <a:pt x="4123" y="1874"/>
                  <a:pt x="4120" y="1869"/>
                </a:cubicBezTo>
                <a:cubicBezTo>
                  <a:pt x="4105" y="1847"/>
                  <a:pt x="4090" y="1825"/>
                  <a:pt x="4075" y="1803"/>
                </a:cubicBezTo>
                <a:cubicBezTo>
                  <a:pt x="4072" y="1799"/>
                  <a:pt x="4069" y="1794"/>
                  <a:pt x="4066" y="1790"/>
                </a:cubicBezTo>
                <a:cubicBezTo>
                  <a:pt x="4042" y="1745"/>
                  <a:pt x="4008" y="1723"/>
                  <a:pt x="3960" y="1719"/>
                </a:cubicBezTo>
                <a:cubicBezTo>
                  <a:pt x="3955" y="1718"/>
                  <a:pt x="3951" y="1718"/>
                  <a:pt x="3946" y="1717"/>
                </a:cubicBezTo>
                <a:cubicBezTo>
                  <a:pt x="3930" y="1714"/>
                  <a:pt x="3917" y="1706"/>
                  <a:pt x="3902" y="1708"/>
                </a:cubicBezTo>
                <a:cubicBezTo>
                  <a:pt x="3897" y="1707"/>
                  <a:pt x="3892" y="1706"/>
                  <a:pt x="3887" y="1706"/>
                </a:cubicBezTo>
                <a:cubicBezTo>
                  <a:pt x="3867" y="1703"/>
                  <a:pt x="3848" y="1701"/>
                  <a:pt x="3828" y="1701"/>
                </a:cubicBezTo>
                <a:cubicBezTo>
                  <a:pt x="3822" y="1700"/>
                  <a:pt x="3817" y="1700"/>
                  <a:pt x="3811" y="1700"/>
                </a:cubicBezTo>
                <a:cubicBezTo>
                  <a:pt x="3771" y="1701"/>
                  <a:pt x="3732" y="1710"/>
                  <a:pt x="3701" y="1735"/>
                </a:cubicBezTo>
                <a:cubicBezTo>
                  <a:pt x="3697" y="1738"/>
                  <a:pt x="3693" y="1742"/>
                  <a:pt x="3689" y="1745"/>
                </a:cubicBezTo>
                <a:cubicBezTo>
                  <a:pt x="3685" y="1749"/>
                  <a:pt x="3680" y="1754"/>
                  <a:pt x="3676" y="1759"/>
                </a:cubicBezTo>
                <a:cubicBezTo>
                  <a:pt x="3659" y="1794"/>
                  <a:pt x="3624" y="1812"/>
                  <a:pt x="3603" y="1843"/>
                </a:cubicBezTo>
                <a:cubicBezTo>
                  <a:pt x="3592" y="1856"/>
                  <a:pt x="3592" y="1873"/>
                  <a:pt x="3592" y="1889"/>
                </a:cubicBezTo>
                <a:cubicBezTo>
                  <a:pt x="3592" y="1895"/>
                  <a:pt x="3592" y="1900"/>
                  <a:pt x="3591" y="1905"/>
                </a:cubicBezTo>
                <a:cubicBezTo>
                  <a:pt x="3590" y="1914"/>
                  <a:pt x="3585" y="1923"/>
                  <a:pt x="3581" y="1927"/>
                </a:cubicBezTo>
                <a:cubicBezTo>
                  <a:pt x="3577" y="1930"/>
                  <a:pt x="3572" y="1933"/>
                  <a:pt x="3568" y="1935"/>
                </a:cubicBezTo>
                <a:cubicBezTo>
                  <a:pt x="3564" y="1936"/>
                  <a:pt x="3560" y="1937"/>
                  <a:pt x="3557" y="1938"/>
                </a:cubicBezTo>
                <a:cubicBezTo>
                  <a:pt x="3552" y="1941"/>
                  <a:pt x="3547" y="1943"/>
                  <a:pt x="3542" y="1946"/>
                </a:cubicBezTo>
                <a:cubicBezTo>
                  <a:pt x="3537" y="1948"/>
                  <a:pt x="3533" y="1950"/>
                  <a:pt x="3528" y="1952"/>
                </a:cubicBezTo>
                <a:cubicBezTo>
                  <a:pt x="3503" y="1958"/>
                  <a:pt x="3490" y="1985"/>
                  <a:pt x="3495" y="2011"/>
                </a:cubicBezTo>
                <a:cubicBezTo>
                  <a:pt x="3496" y="2017"/>
                  <a:pt x="3499" y="2023"/>
                  <a:pt x="3502" y="2028"/>
                </a:cubicBezTo>
                <a:cubicBezTo>
                  <a:pt x="3519" y="2053"/>
                  <a:pt x="3553" y="2071"/>
                  <a:pt x="3539" y="2103"/>
                </a:cubicBezTo>
                <a:cubicBezTo>
                  <a:pt x="3538" y="2108"/>
                  <a:pt x="3537" y="2112"/>
                  <a:pt x="3536" y="2117"/>
                </a:cubicBezTo>
                <a:cubicBezTo>
                  <a:pt x="3533" y="2123"/>
                  <a:pt x="3531" y="2129"/>
                  <a:pt x="3529" y="2135"/>
                </a:cubicBezTo>
                <a:cubicBezTo>
                  <a:pt x="3523" y="2139"/>
                  <a:pt x="3518" y="2143"/>
                  <a:pt x="3513" y="2148"/>
                </a:cubicBezTo>
                <a:cubicBezTo>
                  <a:pt x="3508" y="2152"/>
                  <a:pt x="3503" y="2156"/>
                  <a:pt x="3499" y="2161"/>
                </a:cubicBezTo>
                <a:cubicBezTo>
                  <a:pt x="3480" y="2192"/>
                  <a:pt x="3468" y="2232"/>
                  <a:pt x="3477" y="2264"/>
                </a:cubicBezTo>
                <a:cubicBezTo>
                  <a:pt x="3479" y="2269"/>
                  <a:pt x="3481" y="2275"/>
                  <a:pt x="3484" y="2279"/>
                </a:cubicBezTo>
                <a:cubicBezTo>
                  <a:pt x="3486" y="2295"/>
                  <a:pt x="3508" y="2295"/>
                  <a:pt x="3508" y="2308"/>
                </a:cubicBezTo>
                <a:cubicBezTo>
                  <a:pt x="3508" y="2344"/>
                  <a:pt x="3512" y="2375"/>
                  <a:pt x="3524" y="2412"/>
                </a:cubicBezTo>
                <a:cubicBezTo>
                  <a:pt x="3526" y="2418"/>
                  <a:pt x="3527" y="2424"/>
                  <a:pt x="3529" y="2429"/>
                </a:cubicBezTo>
                <a:cubicBezTo>
                  <a:pt x="3530" y="2435"/>
                  <a:pt x="3532" y="2441"/>
                  <a:pt x="3533" y="2447"/>
                </a:cubicBezTo>
                <a:cubicBezTo>
                  <a:pt x="3534" y="2452"/>
                  <a:pt x="3535" y="2458"/>
                  <a:pt x="3536" y="2464"/>
                </a:cubicBezTo>
                <a:cubicBezTo>
                  <a:pt x="3538" y="2499"/>
                  <a:pt x="3542" y="2534"/>
                  <a:pt x="3529" y="2570"/>
                </a:cubicBezTo>
                <a:cubicBezTo>
                  <a:pt x="3527" y="2575"/>
                  <a:pt x="3524" y="2579"/>
                  <a:pt x="3521" y="2584"/>
                </a:cubicBezTo>
                <a:cubicBezTo>
                  <a:pt x="3504" y="2606"/>
                  <a:pt x="3476" y="2621"/>
                  <a:pt x="3492" y="2656"/>
                </a:cubicBezTo>
                <a:cubicBezTo>
                  <a:pt x="3494" y="2660"/>
                  <a:pt x="3496" y="2663"/>
                  <a:pt x="3499" y="2667"/>
                </a:cubicBezTo>
                <a:cubicBezTo>
                  <a:pt x="3506" y="2678"/>
                  <a:pt x="3516" y="2688"/>
                  <a:pt x="3519" y="2701"/>
                </a:cubicBezTo>
                <a:cubicBezTo>
                  <a:pt x="3520" y="2708"/>
                  <a:pt x="3521" y="2715"/>
                  <a:pt x="3520" y="2722"/>
                </a:cubicBezTo>
                <a:cubicBezTo>
                  <a:pt x="3520" y="2743"/>
                  <a:pt x="3516" y="2765"/>
                  <a:pt x="3508" y="2787"/>
                </a:cubicBezTo>
                <a:cubicBezTo>
                  <a:pt x="3497" y="2764"/>
                  <a:pt x="3486" y="2741"/>
                  <a:pt x="3474" y="2719"/>
                </a:cubicBezTo>
                <a:cubicBezTo>
                  <a:pt x="3472" y="2714"/>
                  <a:pt x="3470" y="2710"/>
                  <a:pt x="3467" y="2706"/>
                </a:cubicBezTo>
                <a:cubicBezTo>
                  <a:pt x="3459" y="2693"/>
                  <a:pt x="3449" y="2681"/>
                  <a:pt x="3440" y="2668"/>
                </a:cubicBezTo>
                <a:cubicBezTo>
                  <a:pt x="3437" y="2664"/>
                  <a:pt x="3434" y="2660"/>
                  <a:pt x="3431" y="2656"/>
                </a:cubicBezTo>
                <a:cubicBezTo>
                  <a:pt x="3427" y="2652"/>
                  <a:pt x="3423" y="2647"/>
                  <a:pt x="3420" y="2642"/>
                </a:cubicBezTo>
                <a:cubicBezTo>
                  <a:pt x="3416" y="2637"/>
                  <a:pt x="3414" y="2632"/>
                  <a:pt x="3412" y="2627"/>
                </a:cubicBezTo>
                <a:cubicBezTo>
                  <a:pt x="3410" y="2623"/>
                  <a:pt x="3407" y="2617"/>
                  <a:pt x="3405" y="2612"/>
                </a:cubicBezTo>
                <a:cubicBezTo>
                  <a:pt x="3403" y="2606"/>
                  <a:pt x="3402" y="2601"/>
                  <a:pt x="3404" y="2596"/>
                </a:cubicBezTo>
                <a:cubicBezTo>
                  <a:pt x="3452" y="2556"/>
                  <a:pt x="3499" y="2499"/>
                  <a:pt x="3439" y="2446"/>
                </a:cubicBezTo>
                <a:cubicBezTo>
                  <a:pt x="3434" y="2437"/>
                  <a:pt x="3434" y="2423"/>
                  <a:pt x="3433" y="2414"/>
                </a:cubicBezTo>
                <a:cubicBezTo>
                  <a:pt x="3433" y="2409"/>
                  <a:pt x="3433" y="2405"/>
                  <a:pt x="3432" y="2401"/>
                </a:cubicBezTo>
                <a:cubicBezTo>
                  <a:pt x="3431" y="2398"/>
                  <a:pt x="3429" y="2395"/>
                  <a:pt x="3426" y="2392"/>
                </a:cubicBezTo>
                <a:cubicBezTo>
                  <a:pt x="3383" y="2357"/>
                  <a:pt x="3340" y="2273"/>
                  <a:pt x="3381" y="2227"/>
                </a:cubicBezTo>
                <a:cubicBezTo>
                  <a:pt x="3384" y="2222"/>
                  <a:pt x="3387" y="2217"/>
                  <a:pt x="3389" y="2213"/>
                </a:cubicBezTo>
                <a:cubicBezTo>
                  <a:pt x="3414" y="2160"/>
                  <a:pt x="3376" y="2087"/>
                  <a:pt x="3334" y="2037"/>
                </a:cubicBezTo>
                <a:cubicBezTo>
                  <a:pt x="3329" y="2033"/>
                  <a:pt x="3324" y="2029"/>
                  <a:pt x="3319" y="2025"/>
                </a:cubicBezTo>
                <a:cubicBezTo>
                  <a:pt x="3292" y="2004"/>
                  <a:pt x="3259" y="1989"/>
                  <a:pt x="3231" y="1981"/>
                </a:cubicBezTo>
                <a:cubicBezTo>
                  <a:pt x="3226" y="1980"/>
                  <a:pt x="3221" y="1979"/>
                  <a:pt x="3217" y="1978"/>
                </a:cubicBezTo>
                <a:cubicBezTo>
                  <a:pt x="3194" y="1973"/>
                  <a:pt x="3170" y="1968"/>
                  <a:pt x="3151" y="1956"/>
                </a:cubicBezTo>
                <a:cubicBezTo>
                  <a:pt x="3148" y="1952"/>
                  <a:pt x="3146" y="1949"/>
                  <a:pt x="3143" y="1946"/>
                </a:cubicBezTo>
                <a:cubicBezTo>
                  <a:pt x="3129" y="1930"/>
                  <a:pt x="3114" y="1916"/>
                  <a:pt x="3099" y="1905"/>
                </a:cubicBezTo>
                <a:cubicBezTo>
                  <a:pt x="3094" y="1902"/>
                  <a:pt x="3089" y="1899"/>
                  <a:pt x="3084" y="1897"/>
                </a:cubicBezTo>
                <a:cubicBezTo>
                  <a:pt x="3025" y="1847"/>
                  <a:pt x="2973" y="1874"/>
                  <a:pt x="2928" y="1928"/>
                </a:cubicBezTo>
                <a:cubicBezTo>
                  <a:pt x="2925" y="1930"/>
                  <a:pt x="2921" y="1933"/>
                  <a:pt x="2918" y="1935"/>
                </a:cubicBezTo>
                <a:cubicBezTo>
                  <a:pt x="2912" y="1940"/>
                  <a:pt x="2907" y="1946"/>
                  <a:pt x="2901" y="1953"/>
                </a:cubicBezTo>
                <a:cubicBezTo>
                  <a:pt x="2896" y="1953"/>
                  <a:pt x="2890" y="1953"/>
                  <a:pt x="2885" y="1953"/>
                </a:cubicBezTo>
                <a:cubicBezTo>
                  <a:pt x="2864" y="1951"/>
                  <a:pt x="2844" y="1943"/>
                  <a:pt x="2825" y="1924"/>
                </a:cubicBezTo>
                <a:cubicBezTo>
                  <a:pt x="2821" y="1921"/>
                  <a:pt x="2816" y="1917"/>
                  <a:pt x="2811" y="1913"/>
                </a:cubicBezTo>
                <a:cubicBezTo>
                  <a:pt x="2802" y="1906"/>
                  <a:pt x="2793" y="1898"/>
                  <a:pt x="2785" y="1891"/>
                </a:cubicBezTo>
                <a:cubicBezTo>
                  <a:pt x="2779" y="1889"/>
                  <a:pt x="2774" y="1887"/>
                  <a:pt x="2767" y="1886"/>
                </a:cubicBezTo>
                <a:cubicBezTo>
                  <a:pt x="2763" y="1884"/>
                  <a:pt x="2758" y="1882"/>
                  <a:pt x="2754" y="1879"/>
                </a:cubicBezTo>
                <a:cubicBezTo>
                  <a:pt x="2736" y="1869"/>
                  <a:pt x="2720" y="1854"/>
                  <a:pt x="2704" y="1834"/>
                </a:cubicBezTo>
                <a:cubicBezTo>
                  <a:pt x="2698" y="1832"/>
                  <a:pt x="2692" y="1830"/>
                  <a:pt x="2687" y="1827"/>
                </a:cubicBezTo>
                <a:cubicBezTo>
                  <a:pt x="2647" y="1809"/>
                  <a:pt x="2610" y="1786"/>
                  <a:pt x="2576" y="1756"/>
                </a:cubicBezTo>
                <a:cubicBezTo>
                  <a:pt x="2619" y="1771"/>
                  <a:pt x="2665" y="1794"/>
                  <a:pt x="2710" y="1801"/>
                </a:cubicBezTo>
                <a:cubicBezTo>
                  <a:pt x="2714" y="1802"/>
                  <a:pt x="2719" y="1802"/>
                  <a:pt x="2724" y="1803"/>
                </a:cubicBezTo>
                <a:cubicBezTo>
                  <a:pt x="2777" y="1807"/>
                  <a:pt x="2828" y="1843"/>
                  <a:pt x="2878" y="1844"/>
                </a:cubicBezTo>
                <a:cubicBezTo>
                  <a:pt x="2884" y="1844"/>
                  <a:pt x="2890" y="1844"/>
                  <a:pt x="2895" y="1843"/>
                </a:cubicBezTo>
                <a:cubicBezTo>
                  <a:pt x="2917" y="1812"/>
                  <a:pt x="2887" y="1754"/>
                  <a:pt x="2943" y="1754"/>
                </a:cubicBezTo>
                <a:cubicBezTo>
                  <a:pt x="2995" y="1759"/>
                  <a:pt x="3025" y="1808"/>
                  <a:pt x="3070" y="1827"/>
                </a:cubicBezTo>
                <a:cubicBezTo>
                  <a:pt x="3075" y="1828"/>
                  <a:pt x="3081" y="1829"/>
                  <a:pt x="3086" y="1828"/>
                </a:cubicBezTo>
                <a:cubicBezTo>
                  <a:pt x="3097" y="1827"/>
                  <a:pt x="3107" y="1822"/>
                  <a:pt x="3115" y="1812"/>
                </a:cubicBezTo>
                <a:cubicBezTo>
                  <a:pt x="3120" y="1808"/>
                  <a:pt x="3124" y="1806"/>
                  <a:pt x="3128" y="1805"/>
                </a:cubicBezTo>
                <a:cubicBezTo>
                  <a:pt x="3148" y="1801"/>
                  <a:pt x="3169" y="1822"/>
                  <a:pt x="3192" y="1836"/>
                </a:cubicBezTo>
                <a:cubicBezTo>
                  <a:pt x="3197" y="1838"/>
                  <a:pt x="3201" y="1841"/>
                  <a:pt x="3206" y="1843"/>
                </a:cubicBezTo>
                <a:cubicBezTo>
                  <a:pt x="3212" y="1845"/>
                  <a:pt x="3218" y="1846"/>
                  <a:pt x="3223" y="1848"/>
                </a:cubicBezTo>
                <a:cubicBezTo>
                  <a:pt x="3253" y="1861"/>
                  <a:pt x="3266" y="1892"/>
                  <a:pt x="3275" y="1923"/>
                </a:cubicBezTo>
                <a:cubicBezTo>
                  <a:pt x="3279" y="1932"/>
                  <a:pt x="3292" y="1936"/>
                  <a:pt x="3301" y="1940"/>
                </a:cubicBezTo>
                <a:cubicBezTo>
                  <a:pt x="3307" y="1943"/>
                  <a:pt x="3314" y="1940"/>
                  <a:pt x="3320" y="1938"/>
                </a:cubicBezTo>
                <a:cubicBezTo>
                  <a:pt x="3365" y="1927"/>
                  <a:pt x="3413" y="1980"/>
                  <a:pt x="3456" y="1940"/>
                </a:cubicBezTo>
                <a:cubicBezTo>
                  <a:pt x="3456" y="1945"/>
                  <a:pt x="3460" y="1949"/>
                  <a:pt x="3460" y="1954"/>
                </a:cubicBezTo>
                <a:cubicBezTo>
                  <a:pt x="3482" y="1927"/>
                  <a:pt x="3490" y="1892"/>
                  <a:pt x="3500" y="1860"/>
                </a:cubicBezTo>
                <a:cubicBezTo>
                  <a:pt x="3501" y="1856"/>
                  <a:pt x="3503" y="1851"/>
                  <a:pt x="3504" y="1846"/>
                </a:cubicBezTo>
                <a:cubicBezTo>
                  <a:pt x="3510" y="1826"/>
                  <a:pt x="3515" y="1807"/>
                  <a:pt x="3524" y="1791"/>
                </a:cubicBezTo>
                <a:cubicBezTo>
                  <a:pt x="3528" y="1785"/>
                  <a:pt x="3532" y="1781"/>
                  <a:pt x="3537" y="1777"/>
                </a:cubicBezTo>
                <a:cubicBezTo>
                  <a:pt x="3539" y="1772"/>
                  <a:pt x="3542" y="1767"/>
                  <a:pt x="3544" y="1762"/>
                </a:cubicBezTo>
                <a:cubicBezTo>
                  <a:pt x="3557" y="1737"/>
                  <a:pt x="3568" y="1712"/>
                  <a:pt x="3584" y="1689"/>
                </a:cubicBezTo>
                <a:cubicBezTo>
                  <a:pt x="3587" y="1684"/>
                  <a:pt x="3590" y="1680"/>
                  <a:pt x="3594" y="1675"/>
                </a:cubicBezTo>
                <a:cubicBezTo>
                  <a:pt x="3628" y="1644"/>
                  <a:pt x="3680" y="1670"/>
                  <a:pt x="3706" y="1639"/>
                </a:cubicBezTo>
                <a:cubicBezTo>
                  <a:pt x="3745" y="1599"/>
                  <a:pt x="3663" y="1577"/>
                  <a:pt x="3641" y="1551"/>
                </a:cubicBezTo>
                <a:cubicBezTo>
                  <a:pt x="3637" y="1544"/>
                  <a:pt x="3636" y="1536"/>
                  <a:pt x="3638" y="1529"/>
                </a:cubicBezTo>
                <a:cubicBezTo>
                  <a:pt x="3640" y="1521"/>
                  <a:pt x="3645" y="1514"/>
                  <a:pt x="3653" y="1509"/>
                </a:cubicBezTo>
                <a:cubicBezTo>
                  <a:pt x="3672" y="1484"/>
                  <a:pt x="3706" y="1475"/>
                  <a:pt x="3736" y="1475"/>
                </a:cubicBezTo>
                <a:cubicBezTo>
                  <a:pt x="3736" y="1453"/>
                  <a:pt x="3723" y="1431"/>
                  <a:pt x="3700" y="1423"/>
                </a:cubicBezTo>
                <a:cubicBezTo>
                  <a:pt x="3694" y="1420"/>
                  <a:pt x="3689" y="1417"/>
                  <a:pt x="3683" y="1415"/>
                </a:cubicBezTo>
                <a:cubicBezTo>
                  <a:pt x="3657" y="1402"/>
                  <a:pt x="3631" y="1389"/>
                  <a:pt x="3616" y="1360"/>
                </a:cubicBezTo>
                <a:cubicBezTo>
                  <a:pt x="3613" y="1356"/>
                  <a:pt x="3612" y="1351"/>
                  <a:pt x="3612" y="1346"/>
                </a:cubicBezTo>
                <a:cubicBezTo>
                  <a:pt x="3611" y="1326"/>
                  <a:pt x="3628" y="1305"/>
                  <a:pt x="3628" y="1285"/>
                </a:cubicBezTo>
                <a:cubicBezTo>
                  <a:pt x="3628" y="1249"/>
                  <a:pt x="3564" y="1254"/>
                  <a:pt x="3546" y="1213"/>
                </a:cubicBezTo>
                <a:cubicBezTo>
                  <a:pt x="3544" y="1208"/>
                  <a:pt x="3543" y="1203"/>
                  <a:pt x="3541" y="1198"/>
                </a:cubicBezTo>
                <a:cubicBezTo>
                  <a:pt x="3539" y="1193"/>
                  <a:pt x="3538" y="1189"/>
                  <a:pt x="3535" y="1185"/>
                </a:cubicBezTo>
                <a:cubicBezTo>
                  <a:pt x="3533" y="1179"/>
                  <a:pt x="3530" y="1175"/>
                  <a:pt x="3527" y="1171"/>
                </a:cubicBezTo>
                <a:cubicBezTo>
                  <a:pt x="3490" y="1134"/>
                  <a:pt x="3465" y="1178"/>
                  <a:pt x="3444" y="1203"/>
                </a:cubicBezTo>
                <a:cubicBezTo>
                  <a:pt x="3441" y="1208"/>
                  <a:pt x="3437" y="1213"/>
                  <a:pt x="3433" y="1218"/>
                </a:cubicBezTo>
                <a:cubicBezTo>
                  <a:pt x="3429" y="1222"/>
                  <a:pt x="3425" y="1227"/>
                  <a:pt x="3420" y="1230"/>
                </a:cubicBezTo>
                <a:cubicBezTo>
                  <a:pt x="3416" y="1234"/>
                  <a:pt x="3412" y="1238"/>
                  <a:pt x="3408" y="1244"/>
                </a:cubicBezTo>
                <a:cubicBezTo>
                  <a:pt x="3405" y="1249"/>
                  <a:pt x="3402" y="1255"/>
                  <a:pt x="3400" y="1262"/>
                </a:cubicBezTo>
                <a:cubicBezTo>
                  <a:pt x="3399" y="1266"/>
                  <a:pt x="3396" y="1269"/>
                  <a:pt x="3391" y="1271"/>
                </a:cubicBezTo>
                <a:cubicBezTo>
                  <a:pt x="3387" y="1274"/>
                  <a:pt x="3382" y="1276"/>
                  <a:pt x="3377" y="1276"/>
                </a:cubicBezTo>
                <a:cubicBezTo>
                  <a:pt x="3366" y="1278"/>
                  <a:pt x="3357" y="1276"/>
                  <a:pt x="3357" y="1267"/>
                </a:cubicBezTo>
                <a:cubicBezTo>
                  <a:pt x="3357" y="1250"/>
                  <a:pt x="3354" y="1237"/>
                  <a:pt x="3348" y="1227"/>
                </a:cubicBezTo>
                <a:cubicBezTo>
                  <a:pt x="3346" y="1222"/>
                  <a:pt x="3342" y="1217"/>
                  <a:pt x="3339" y="1213"/>
                </a:cubicBezTo>
                <a:cubicBezTo>
                  <a:pt x="3331" y="1192"/>
                  <a:pt x="3352" y="1165"/>
                  <a:pt x="3340" y="1156"/>
                </a:cubicBezTo>
                <a:cubicBezTo>
                  <a:pt x="3305" y="1116"/>
                  <a:pt x="3245" y="1121"/>
                  <a:pt x="3212" y="1076"/>
                </a:cubicBezTo>
                <a:cubicBezTo>
                  <a:pt x="3209" y="1073"/>
                  <a:pt x="3207" y="1070"/>
                  <a:pt x="3204" y="1067"/>
                </a:cubicBezTo>
                <a:cubicBezTo>
                  <a:pt x="3200" y="1062"/>
                  <a:pt x="3196" y="1058"/>
                  <a:pt x="3192" y="1054"/>
                </a:cubicBezTo>
                <a:cubicBezTo>
                  <a:pt x="3156" y="1045"/>
                  <a:pt x="3129" y="1026"/>
                  <a:pt x="3116" y="1001"/>
                </a:cubicBezTo>
                <a:cubicBezTo>
                  <a:pt x="3114" y="996"/>
                  <a:pt x="3112" y="991"/>
                  <a:pt x="3110" y="985"/>
                </a:cubicBezTo>
                <a:cubicBezTo>
                  <a:pt x="3089" y="952"/>
                  <a:pt x="3141" y="930"/>
                  <a:pt x="3110" y="897"/>
                </a:cubicBezTo>
                <a:cubicBezTo>
                  <a:pt x="3106" y="894"/>
                  <a:pt x="3101" y="892"/>
                  <a:pt x="3097" y="890"/>
                </a:cubicBezTo>
                <a:cubicBezTo>
                  <a:pt x="3045" y="869"/>
                  <a:pt x="2975" y="903"/>
                  <a:pt x="2916" y="900"/>
                </a:cubicBezTo>
                <a:cubicBezTo>
                  <a:pt x="2912" y="901"/>
                  <a:pt x="2907" y="902"/>
                  <a:pt x="2903" y="903"/>
                </a:cubicBezTo>
                <a:cubicBezTo>
                  <a:pt x="2895" y="905"/>
                  <a:pt x="2886" y="906"/>
                  <a:pt x="2877" y="908"/>
                </a:cubicBezTo>
                <a:cubicBezTo>
                  <a:pt x="2872" y="908"/>
                  <a:pt x="2867" y="909"/>
                  <a:pt x="2861" y="909"/>
                </a:cubicBezTo>
                <a:cubicBezTo>
                  <a:pt x="2809" y="904"/>
                  <a:pt x="2770" y="895"/>
                  <a:pt x="2730" y="940"/>
                </a:cubicBezTo>
                <a:cubicBezTo>
                  <a:pt x="2725" y="942"/>
                  <a:pt x="2720" y="943"/>
                  <a:pt x="2715" y="943"/>
                </a:cubicBezTo>
                <a:cubicBezTo>
                  <a:pt x="2700" y="944"/>
                  <a:pt x="2685" y="939"/>
                  <a:pt x="2675" y="926"/>
                </a:cubicBezTo>
                <a:cubicBezTo>
                  <a:pt x="2654" y="899"/>
                  <a:pt x="2637" y="868"/>
                  <a:pt x="2596" y="876"/>
                </a:cubicBezTo>
                <a:cubicBezTo>
                  <a:pt x="2592" y="875"/>
                  <a:pt x="2588" y="873"/>
                  <a:pt x="2585" y="871"/>
                </a:cubicBezTo>
                <a:cubicBezTo>
                  <a:pt x="2581" y="868"/>
                  <a:pt x="2578" y="864"/>
                  <a:pt x="2576" y="859"/>
                </a:cubicBezTo>
                <a:cubicBezTo>
                  <a:pt x="2563" y="833"/>
                  <a:pt x="2611" y="815"/>
                  <a:pt x="2632" y="793"/>
                </a:cubicBezTo>
                <a:cubicBezTo>
                  <a:pt x="2625" y="806"/>
                  <a:pt x="2625" y="816"/>
                  <a:pt x="2629" y="823"/>
                </a:cubicBezTo>
                <a:cubicBezTo>
                  <a:pt x="2631" y="827"/>
                  <a:pt x="2634" y="830"/>
                  <a:pt x="2638" y="832"/>
                </a:cubicBezTo>
                <a:cubicBezTo>
                  <a:pt x="2652" y="839"/>
                  <a:pt x="2668" y="844"/>
                  <a:pt x="2683" y="846"/>
                </a:cubicBezTo>
                <a:cubicBezTo>
                  <a:pt x="2688" y="847"/>
                  <a:pt x="2693" y="847"/>
                  <a:pt x="2698" y="847"/>
                </a:cubicBezTo>
                <a:cubicBezTo>
                  <a:pt x="2734" y="853"/>
                  <a:pt x="2757" y="836"/>
                  <a:pt x="2777" y="814"/>
                </a:cubicBezTo>
                <a:cubicBezTo>
                  <a:pt x="2781" y="809"/>
                  <a:pt x="2785" y="805"/>
                  <a:pt x="2790" y="801"/>
                </a:cubicBezTo>
                <a:cubicBezTo>
                  <a:pt x="2839" y="766"/>
                  <a:pt x="2926" y="815"/>
                  <a:pt x="2913" y="717"/>
                </a:cubicBezTo>
                <a:cubicBezTo>
                  <a:pt x="2908" y="704"/>
                  <a:pt x="2930" y="704"/>
                  <a:pt x="2940" y="698"/>
                </a:cubicBezTo>
                <a:cubicBezTo>
                  <a:pt x="2944" y="697"/>
                  <a:pt x="2948" y="696"/>
                  <a:pt x="2952" y="696"/>
                </a:cubicBezTo>
                <a:cubicBezTo>
                  <a:pt x="2958" y="695"/>
                  <a:pt x="2964" y="694"/>
                  <a:pt x="2970" y="693"/>
                </a:cubicBezTo>
                <a:cubicBezTo>
                  <a:pt x="2976" y="693"/>
                  <a:pt x="2982" y="692"/>
                  <a:pt x="2988" y="691"/>
                </a:cubicBezTo>
                <a:cubicBezTo>
                  <a:pt x="3004" y="687"/>
                  <a:pt x="3022" y="695"/>
                  <a:pt x="3039" y="702"/>
                </a:cubicBezTo>
                <a:cubicBezTo>
                  <a:pt x="3045" y="704"/>
                  <a:pt x="3050" y="706"/>
                  <a:pt x="3056" y="707"/>
                </a:cubicBezTo>
                <a:cubicBezTo>
                  <a:pt x="3067" y="704"/>
                  <a:pt x="3080" y="702"/>
                  <a:pt x="3092" y="699"/>
                </a:cubicBezTo>
                <a:cubicBezTo>
                  <a:pt x="3098" y="698"/>
                  <a:pt x="3105" y="696"/>
                  <a:pt x="3111" y="695"/>
                </a:cubicBezTo>
                <a:cubicBezTo>
                  <a:pt x="3117" y="693"/>
                  <a:pt x="3123" y="691"/>
                  <a:pt x="3129" y="689"/>
                </a:cubicBezTo>
                <a:cubicBezTo>
                  <a:pt x="3136" y="687"/>
                  <a:pt x="3142" y="685"/>
                  <a:pt x="3149" y="682"/>
                </a:cubicBezTo>
                <a:cubicBezTo>
                  <a:pt x="3180" y="660"/>
                  <a:pt x="3245" y="673"/>
                  <a:pt x="3245" y="633"/>
                </a:cubicBezTo>
                <a:cubicBezTo>
                  <a:pt x="3249" y="593"/>
                  <a:pt x="3189" y="585"/>
                  <a:pt x="3155" y="563"/>
                </a:cubicBezTo>
                <a:cubicBezTo>
                  <a:pt x="3150" y="560"/>
                  <a:pt x="3145" y="556"/>
                  <a:pt x="3141" y="553"/>
                </a:cubicBezTo>
                <a:cubicBezTo>
                  <a:pt x="3133" y="545"/>
                  <a:pt x="3128" y="535"/>
                  <a:pt x="3126" y="521"/>
                </a:cubicBezTo>
                <a:cubicBezTo>
                  <a:pt x="3127" y="514"/>
                  <a:pt x="3126" y="507"/>
                  <a:pt x="3125" y="501"/>
                </a:cubicBezTo>
                <a:cubicBezTo>
                  <a:pt x="3116" y="449"/>
                  <a:pt x="3042" y="458"/>
                  <a:pt x="3008" y="431"/>
                </a:cubicBezTo>
                <a:cubicBezTo>
                  <a:pt x="3004" y="428"/>
                  <a:pt x="3000" y="425"/>
                  <a:pt x="2996" y="422"/>
                </a:cubicBezTo>
                <a:cubicBezTo>
                  <a:pt x="2985" y="414"/>
                  <a:pt x="2975" y="406"/>
                  <a:pt x="2967" y="397"/>
                </a:cubicBezTo>
                <a:cubicBezTo>
                  <a:pt x="2964" y="393"/>
                  <a:pt x="2961" y="389"/>
                  <a:pt x="2958" y="385"/>
                </a:cubicBezTo>
                <a:cubicBezTo>
                  <a:pt x="2943" y="376"/>
                  <a:pt x="2956" y="359"/>
                  <a:pt x="2964" y="350"/>
                </a:cubicBezTo>
                <a:cubicBezTo>
                  <a:pt x="2968" y="348"/>
                  <a:pt x="2972" y="347"/>
                  <a:pt x="2976" y="346"/>
                </a:cubicBezTo>
                <a:cubicBezTo>
                  <a:pt x="3029" y="359"/>
                  <a:pt x="3076" y="301"/>
                  <a:pt x="3069" y="247"/>
                </a:cubicBezTo>
                <a:cubicBezTo>
                  <a:pt x="3066" y="242"/>
                  <a:pt x="3063" y="238"/>
                  <a:pt x="3059" y="233"/>
                </a:cubicBezTo>
                <a:cubicBezTo>
                  <a:pt x="3042" y="217"/>
                  <a:pt x="3016" y="203"/>
                  <a:pt x="2991" y="204"/>
                </a:cubicBezTo>
                <a:cubicBezTo>
                  <a:pt x="2987" y="203"/>
                  <a:pt x="2983" y="204"/>
                  <a:pt x="2979" y="204"/>
                </a:cubicBezTo>
                <a:cubicBezTo>
                  <a:pt x="2970" y="204"/>
                  <a:pt x="2962" y="204"/>
                  <a:pt x="2955" y="205"/>
                </a:cubicBezTo>
                <a:cubicBezTo>
                  <a:pt x="2949" y="206"/>
                  <a:pt x="2944" y="209"/>
                  <a:pt x="2938" y="211"/>
                </a:cubicBezTo>
                <a:cubicBezTo>
                  <a:pt x="2922" y="219"/>
                  <a:pt x="2905" y="230"/>
                  <a:pt x="2889" y="233"/>
                </a:cubicBezTo>
                <a:cubicBezTo>
                  <a:pt x="2884" y="235"/>
                  <a:pt x="2879" y="235"/>
                  <a:pt x="2874" y="235"/>
                </a:cubicBezTo>
                <a:cubicBezTo>
                  <a:pt x="2865" y="235"/>
                  <a:pt x="2855" y="233"/>
                  <a:pt x="2845" y="227"/>
                </a:cubicBezTo>
                <a:cubicBezTo>
                  <a:pt x="2840" y="224"/>
                  <a:pt x="2836" y="220"/>
                  <a:pt x="2833" y="215"/>
                </a:cubicBezTo>
                <a:cubicBezTo>
                  <a:pt x="2830" y="210"/>
                  <a:pt x="2828" y="205"/>
                  <a:pt x="2826" y="199"/>
                </a:cubicBezTo>
                <a:cubicBezTo>
                  <a:pt x="2826" y="199"/>
                  <a:pt x="2830" y="198"/>
                  <a:pt x="2834" y="196"/>
                </a:cubicBezTo>
                <a:cubicBezTo>
                  <a:pt x="2838" y="195"/>
                  <a:pt x="2844" y="192"/>
                  <a:pt x="2848" y="190"/>
                </a:cubicBezTo>
                <a:cubicBezTo>
                  <a:pt x="2852" y="186"/>
                  <a:pt x="2855" y="182"/>
                  <a:pt x="2858" y="178"/>
                </a:cubicBezTo>
                <a:cubicBezTo>
                  <a:pt x="2862" y="174"/>
                  <a:pt x="2865" y="169"/>
                  <a:pt x="2868" y="165"/>
                </a:cubicBezTo>
                <a:cubicBezTo>
                  <a:pt x="2887" y="133"/>
                  <a:pt x="2913" y="119"/>
                  <a:pt x="2947" y="119"/>
                </a:cubicBezTo>
                <a:cubicBezTo>
                  <a:pt x="2977" y="119"/>
                  <a:pt x="2973" y="62"/>
                  <a:pt x="3014" y="57"/>
                </a:cubicBezTo>
                <a:cubicBezTo>
                  <a:pt x="3020" y="57"/>
                  <a:pt x="3026" y="58"/>
                  <a:pt x="3032" y="59"/>
                </a:cubicBezTo>
                <a:cubicBezTo>
                  <a:pt x="3059" y="72"/>
                  <a:pt x="3076" y="93"/>
                  <a:pt x="3093" y="116"/>
                </a:cubicBezTo>
                <a:cubicBezTo>
                  <a:pt x="3096" y="120"/>
                  <a:pt x="3099" y="125"/>
                  <a:pt x="3103" y="129"/>
                </a:cubicBezTo>
                <a:cubicBezTo>
                  <a:pt x="3106" y="135"/>
                  <a:pt x="3109" y="141"/>
                  <a:pt x="3112" y="146"/>
                </a:cubicBezTo>
                <a:cubicBezTo>
                  <a:pt x="3115" y="152"/>
                  <a:pt x="3118" y="158"/>
                  <a:pt x="3121" y="164"/>
                </a:cubicBezTo>
                <a:cubicBezTo>
                  <a:pt x="3126" y="173"/>
                  <a:pt x="3131" y="182"/>
                  <a:pt x="3137" y="190"/>
                </a:cubicBezTo>
                <a:cubicBezTo>
                  <a:pt x="3140" y="194"/>
                  <a:pt x="3143" y="198"/>
                  <a:pt x="3147" y="202"/>
                </a:cubicBezTo>
                <a:cubicBezTo>
                  <a:pt x="3184" y="239"/>
                  <a:pt x="3249" y="235"/>
                  <a:pt x="3271" y="288"/>
                </a:cubicBezTo>
                <a:cubicBezTo>
                  <a:pt x="3272" y="293"/>
                  <a:pt x="3272" y="298"/>
                  <a:pt x="3272" y="302"/>
                </a:cubicBezTo>
                <a:cubicBezTo>
                  <a:pt x="3252" y="327"/>
                  <a:pt x="3243" y="354"/>
                  <a:pt x="3245" y="378"/>
                </a:cubicBezTo>
                <a:cubicBezTo>
                  <a:pt x="3246" y="383"/>
                  <a:pt x="3246" y="387"/>
                  <a:pt x="3248" y="392"/>
                </a:cubicBezTo>
                <a:cubicBezTo>
                  <a:pt x="3245" y="474"/>
                  <a:pt x="3340" y="456"/>
                  <a:pt x="3389" y="482"/>
                </a:cubicBezTo>
                <a:cubicBezTo>
                  <a:pt x="3394" y="485"/>
                  <a:pt x="3399" y="487"/>
                  <a:pt x="3404" y="489"/>
                </a:cubicBezTo>
                <a:cubicBezTo>
                  <a:pt x="3452" y="514"/>
                  <a:pt x="3499" y="549"/>
                  <a:pt x="3545" y="576"/>
                </a:cubicBezTo>
                <a:cubicBezTo>
                  <a:pt x="3548" y="579"/>
                  <a:pt x="3551" y="582"/>
                  <a:pt x="3554" y="585"/>
                </a:cubicBezTo>
                <a:cubicBezTo>
                  <a:pt x="3562" y="595"/>
                  <a:pt x="3569" y="607"/>
                  <a:pt x="3574" y="620"/>
                </a:cubicBezTo>
                <a:cubicBezTo>
                  <a:pt x="3577" y="626"/>
                  <a:pt x="3578" y="633"/>
                  <a:pt x="3580" y="639"/>
                </a:cubicBezTo>
                <a:cubicBezTo>
                  <a:pt x="3584" y="686"/>
                  <a:pt x="3570" y="711"/>
                  <a:pt x="3547" y="726"/>
                </a:cubicBezTo>
                <a:cubicBezTo>
                  <a:pt x="3542" y="729"/>
                  <a:pt x="3537" y="731"/>
                  <a:pt x="3531" y="733"/>
                </a:cubicBezTo>
                <a:cubicBezTo>
                  <a:pt x="3478" y="749"/>
                  <a:pt x="3421" y="744"/>
                  <a:pt x="3371" y="751"/>
                </a:cubicBezTo>
                <a:cubicBezTo>
                  <a:pt x="3365" y="752"/>
                  <a:pt x="3358" y="754"/>
                  <a:pt x="3352" y="755"/>
                </a:cubicBezTo>
                <a:cubicBezTo>
                  <a:pt x="3346" y="757"/>
                  <a:pt x="3341" y="759"/>
                  <a:pt x="3335" y="762"/>
                </a:cubicBezTo>
                <a:cubicBezTo>
                  <a:pt x="3330" y="765"/>
                  <a:pt x="3325" y="768"/>
                  <a:pt x="3321" y="772"/>
                </a:cubicBezTo>
                <a:cubicBezTo>
                  <a:pt x="3314" y="778"/>
                  <a:pt x="3309" y="786"/>
                  <a:pt x="3306" y="795"/>
                </a:cubicBezTo>
                <a:cubicBezTo>
                  <a:pt x="3305" y="799"/>
                  <a:pt x="3303" y="804"/>
                  <a:pt x="3303" y="809"/>
                </a:cubicBezTo>
                <a:cubicBezTo>
                  <a:pt x="3304" y="813"/>
                  <a:pt x="3306" y="818"/>
                  <a:pt x="3307" y="823"/>
                </a:cubicBezTo>
                <a:cubicBezTo>
                  <a:pt x="3318" y="864"/>
                  <a:pt x="3249" y="881"/>
                  <a:pt x="3283" y="904"/>
                </a:cubicBezTo>
                <a:cubicBezTo>
                  <a:pt x="3331" y="935"/>
                  <a:pt x="3378" y="952"/>
                  <a:pt x="3434" y="953"/>
                </a:cubicBezTo>
                <a:cubicBezTo>
                  <a:pt x="3441" y="954"/>
                  <a:pt x="3447" y="954"/>
                  <a:pt x="3453" y="954"/>
                </a:cubicBezTo>
                <a:cubicBezTo>
                  <a:pt x="3471" y="955"/>
                  <a:pt x="3488" y="956"/>
                  <a:pt x="3503" y="957"/>
                </a:cubicBezTo>
                <a:cubicBezTo>
                  <a:pt x="3521" y="961"/>
                  <a:pt x="3568" y="957"/>
                  <a:pt x="3559" y="994"/>
                </a:cubicBezTo>
                <a:cubicBezTo>
                  <a:pt x="3557" y="998"/>
                  <a:pt x="3555" y="1002"/>
                  <a:pt x="3552" y="1006"/>
                </a:cubicBezTo>
                <a:cubicBezTo>
                  <a:pt x="3550" y="1010"/>
                  <a:pt x="3548" y="1014"/>
                  <a:pt x="3547" y="1019"/>
                </a:cubicBezTo>
                <a:cubicBezTo>
                  <a:pt x="3585" y="1032"/>
                  <a:pt x="3628" y="1019"/>
                  <a:pt x="3666" y="1020"/>
                </a:cubicBezTo>
                <a:cubicBezTo>
                  <a:pt x="3673" y="1020"/>
                  <a:pt x="3679" y="1020"/>
                  <a:pt x="3685" y="1020"/>
                </a:cubicBezTo>
                <a:cubicBezTo>
                  <a:pt x="3726" y="1022"/>
                  <a:pt x="3764" y="1035"/>
                  <a:pt x="3785" y="1074"/>
                </a:cubicBezTo>
                <a:cubicBezTo>
                  <a:pt x="3790" y="1084"/>
                  <a:pt x="3794" y="1095"/>
                  <a:pt x="3798" y="1107"/>
                </a:cubicBezTo>
                <a:cubicBezTo>
                  <a:pt x="3794" y="1134"/>
                  <a:pt x="3760" y="1149"/>
                  <a:pt x="3751" y="1165"/>
                </a:cubicBezTo>
                <a:cubicBezTo>
                  <a:pt x="3749" y="1169"/>
                  <a:pt x="3748" y="1173"/>
                  <a:pt x="3749" y="1177"/>
                </a:cubicBezTo>
                <a:cubicBezTo>
                  <a:pt x="3797" y="1231"/>
                  <a:pt x="3870" y="1192"/>
                  <a:pt x="3926" y="1227"/>
                </a:cubicBezTo>
                <a:cubicBezTo>
                  <a:pt x="3968" y="1254"/>
                  <a:pt x="3933" y="1292"/>
                  <a:pt x="3924" y="1327"/>
                </a:cubicBezTo>
                <a:cubicBezTo>
                  <a:pt x="3923" y="1332"/>
                  <a:pt x="3922" y="1337"/>
                  <a:pt x="3922" y="1342"/>
                </a:cubicBezTo>
                <a:cubicBezTo>
                  <a:pt x="3952" y="1360"/>
                  <a:pt x="3948" y="1395"/>
                  <a:pt x="3956" y="1426"/>
                </a:cubicBezTo>
                <a:cubicBezTo>
                  <a:pt x="3958" y="1431"/>
                  <a:pt x="3960" y="1434"/>
                  <a:pt x="3964" y="1437"/>
                </a:cubicBezTo>
                <a:cubicBezTo>
                  <a:pt x="3999" y="1449"/>
                  <a:pt x="4004" y="1484"/>
                  <a:pt x="4021" y="1511"/>
                </a:cubicBezTo>
                <a:cubicBezTo>
                  <a:pt x="4024" y="1516"/>
                  <a:pt x="4026" y="1521"/>
                  <a:pt x="4029" y="1526"/>
                </a:cubicBezTo>
                <a:cubicBezTo>
                  <a:pt x="4023" y="1547"/>
                  <a:pt x="4022" y="1565"/>
                  <a:pt x="4025" y="1580"/>
                </a:cubicBezTo>
                <a:cubicBezTo>
                  <a:pt x="4026" y="1586"/>
                  <a:pt x="4027" y="1591"/>
                  <a:pt x="4029" y="1596"/>
                </a:cubicBezTo>
                <a:cubicBezTo>
                  <a:pt x="4042" y="1621"/>
                  <a:pt x="4064" y="1652"/>
                  <a:pt x="4081" y="1675"/>
                </a:cubicBezTo>
                <a:cubicBezTo>
                  <a:pt x="4111" y="1710"/>
                  <a:pt x="4111" y="1768"/>
                  <a:pt x="4166" y="1780"/>
                </a:cubicBezTo>
                <a:cubicBezTo>
                  <a:pt x="4170" y="1783"/>
                  <a:pt x="4175" y="1786"/>
                  <a:pt x="4180" y="1789"/>
                </a:cubicBezTo>
                <a:cubicBezTo>
                  <a:pt x="4202" y="1805"/>
                  <a:pt x="4219" y="1825"/>
                  <a:pt x="4232" y="1854"/>
                </a:cubicBezTo>
                <a:cubicBezTo>
                  <a:pt x="4235" y="1858"/>
                  <a:pt x="4238" y="1863"/>
                  <a:pt x="4241" y="1867"/>
                </a:cubicBezTo>
                <a:cubicBezTo>
                  <a:pt x="4243" y="1870"/>
                  <a:pt x="4246" y="1873"/>
                  <a:pt x="4248" y="1876"/>
                </a:cubicBezTo>
                <a:cubicBezTo>
                  <a:pt x="4258" y="1905"/>
                  <a:pt x="4293" y="1905"/>
                  <a:pt x="4318" y="1918"/>
                </a:cubicBezTo>
                <a:cubicBezTo>
                  <a:pt x="4327" y="1923"/>
                  <a:pt x="4336" y="1932"/>
                  <a:pt x="4336" y="1940"/>
                </a:cubicBezTo>
                <a:cubicBezTo>
                  <a:pt x="4331" y="1971"/>
                  <a:pt x="4306" y="1994"/>
                  <a:pt x="4314" y="2028"/>
                </a:cubicBezTo>
                <a:cubicBezTo>
                  <a:pt x="4313" y="2033"/>
                  <a:pt x="4313" y="2039"/>
                  <a:pt x="4313" y="2044"/>
                </a:cubicBezTo>
                <a:cubicBezTo>
                  <a:pt x="4312" y="2065"/>
                  <a:pt x="4317" y="2086"/>
                  <a:pt x="4331" y="2106"/>
                </a:cubicBezTo>
                <a:cubicBezTo>
                  <a:pt x="4332" y="2107"/>
                  <a:pt x="4333" y="2108"/>
                  <a:pt x="4334" y="2109"/>
                </a:cubicBezTo>
                <a:cubicBezTo>
                  <a:pt x="4362" y="2127"/>
                  <a:pt x="4426" y="2131"/>
                  <a:pt x="4384" y="2175"/>
                </a:cubicBezTo>
                <a:cubicBezTo>
                  <a:pt x="4384" y="2176"/>
                  <a:pt x="4383" y="2178"/>
                  <a:pt x="4382" y="2179"/>
                </a:cubicBezTo>
                <a:moveTo>
                  <a:pt x="5201" y="2678"/>
                </a:moveTo>
                <a:cubicBezTo>
                  <a:pt x="5202" y="2700"/>
                  <a:pt x="5208" y="2718"/>
                  <a:pt x="5218" y="2732"/>
                </a:cubicBezTo>
                <a:cubicBezTo>
                  <a:pt x="5221" y="2737"/>
                  <a:pt x="5225" y="2741"/>
                  <a:pt x="5229" y="2745"/>
                </a:cubicBezTo>
                <a:cubicBezTo>
                  <a:pt x="5233" y="2749"/>
                  <a:pt x="5237" y="2753"/>
                  <a:pt x="5242" y="2757"/>
                </a:cubicBezTo>
                <a:cubicBezTo>
                  <a:pt x="5267" y="2782"/>
                  <a:pt x="5280" y="2818"/>
                  <a:pt x="5319" y="2827"/>
                </a:cubicBezTo>
                <a:cubicBezTo>
                  <a:pt x="5280" y="2840"/>
                  <a:pt x="5254" y="2804"/>
                  <a:pt x="5231" y="2784"/>
                </a:cubicBezTo>
                <a:cubicBezTo>
                  <a:pt x="5225" y="2781"/>
                  <a:pt x="5220" y="2779"/>
                  <a:pt x="5215" y="2776"/>
                </a:cubicBezTo>
                <a:cubicBezTo>
                  <a:pt x="5211" y="2773"/>
                  <a:pt x="5206" y="2769"/>
                  <a:pt x="5202" y="2766"/>
                </a:cubicBezTo>
                <a:cubicBezTo>
                  <a:pt x="5195" y="2758"/>
                  <a:pt x="5188" y="2749"/>
                  <a:pt x="5183" y="2738"/>
                </a:cubicBezTo>
                <a:cubicBezTo>
                  <a:pt x="5180" y="2733"/>
                  <a:pt x="5178" y="2728"/>
                  <a:pt x="5176" y="2722"/>
                </a:cubicBezTo>
                <a:cubicBezTo>
                  <a:pt x="5174" y="2718"/>
                  <a:pt x="5172" y="2714"/>
                  <a:pt x="5170" y="2710"/>
                </a:cubicBezTo>
                <a:cubicBezTo>
                  <a:pt x="5162" y="2689"/>
                  <a:pt x="5156" y="2665"/>
                  <a:pt x="5151" y="2641"/>
                </a:cubicBezTo>
                <a:cubicBezTo>
                  <a:pt x="5142" y="2618"/>
                  <a:pt x="5121" y="2610"/>
                  <a:pt x="5111" y="2587"/>
                </a:cubicBezTo>
                <a:cubicBezTo>
                  <a:pt x="5108" y="2583"/>
                  <a:pt x="5105" y="2579"/>
                  <a:pt x="5102" y="2576"/>
                </a:cubicBezTo>
                <a:cubicBezTo>
                  <a:pt x="5085" y="2558"/>
                  <a:pt x="5061" y="2543"/>
                  <a:pt x="5031" y="2531"/>
                </a:cubicBezTo>
                <a:cubicBezTo>
                  <a:pt x="5027" y="2527"/>
                  <a:pt x="5023" y="2522"/>
                  <a:pt x="5019" y="2518"/>
                </a:cubicBezTo>
                <a:cubicBezTo>
                  <a:pt x="5015" y="2513"/>
                  <a:pt x="5012" y="2508"/>
                  <a:pt x="5009" y="2503"/>
                </a:cubicBezTo>
                <a:cubicBezTo>
                  <a:pt x="4977" y="2455"/>
                  <a:pt x="4992" y="2404"/>
                  <a:pt x="4982" y="2355"/>
                </a:cubicBezTo>
                <a:cubicBezTo>
                  <a:pt x="4981" y="2349"/>
                  <a:pt x="4979" y="2344"/>
                  <a:pt x="4977" y="2339"/>
                </a:cubicBezTo>
                <a:cubicBezTo>
                  <a:pt x="4975" y="2334"/>
                  <a:pt x="4972" y="2328"/>
                  <a:pt x="4969" y="2323"/>
                </a:cubicBezTo>
                <a:cubicBezTo>
                  <a:pt x="4967" y="2317"/>
                  <a:pt x="4964" y="2312"/>
                  <a:pt x="4962" y="2306"/>
                </a:cubicBezTo>
                <a:cubicBezTo>
                  <a:pt x="4942" y="2273"/>
                  <a:pt x="4930" y="2242"/>
                  <a:pt x="4920" y="2207"/>
                </a:cubicBezTo>
                <a:cubicBezTo>
                  <a:pt x="4919" y="2202"/>
                  <a:pt x="4917" y="2197"/>
                  <a:pt x="4916" y="2192"/>
                </a:cubicBezTo>
                <a:cubicBezTo>
                  <a:pt x="4901" y="2166"/>
                  <a:pt x="4914" y="2131"/>
                  <a:pt x="4883" y="2109"/>
                </a:cubicBezTo>
                <a:cubicBezTo>
                  <a:pt x="4845" y="2078"/>
                  <a:pt x="4806" y="2109"/>
                  <a:pt x="4799" y="2147"/>
                </a:cubicBezTo>
                <a:cubicBezTo>
                  <a:pt x="4797" y="2152"/>
                  <a:pt x="4795" y="2157"/>
                  <a:pt x="4793" y="2162"/>
                </a:cubicBezTo>
                <a:cubicBezTo>
                  <a:pt x="4789" y="2173"/>
                  <a:pt x="4783" y="2184"/>
                  <a:pt x="4776" y="2194"/>
                </a:cubicBezTo>
                <a:cubicBezTo>
                  <a:pt x="4774" y="2197"/>
                  <a:pt x="4771" y="2200"/>
                  <a:pt x="4769" y="2202"/>
                </a:cubicBezTo>
                <a:cubicBezTo>
                  <a:pt x="4745" y="2228"/>
                  <a:pt x="4702" y="2206"/>
                  <a:pt x="4685" y="2180"/>
                </a:cubicBezTo>
                <a:cubicBezTo>
                  <a:pt x="4715" y="2175"/>
                  <a:pt x="4745" y="2166"/>
                  <a:pt x="4756" y="2134"/>
                </a:cubicBezTo>
                <a:cubicBezTo>
                  <a:pt x="4758" y="2129"/>
                  <a:pt x="4760" y="2124"/>
                  <a:pt x="4761" y="2119"/>
                </a:cubicBezTo>
                <a:cubicBezTo>
                  <a:pt x="4762" y="2088"/>
                  <a:pt x="4758" y="2045"/>
                  <a:pt x="4777" y="2028"/>
                </a:cubicBezTo>
                <a:cubicBezTo>
                  <a:pt x="4780" y="2025"/>
                  <a:pt x="4784" y="2023"/>
                  <a:pt x="4789" y="2021"/>
                </a:cubicBezTo>
                <a:cubicBezTo>
                  <a:pt x="4819" y="2019"/>
                  <a:pt x="4854" y="2016"/>
                  <a:pt x="4885" y="2021"/>
                </a:cubicBezTo>
                <a:cubicBezTo>
                  <a:pt x="4891" y="2022"/>
                  <a:pt x="4897" y="2023"/>
                  <a:pt x="4903" y="2025"/>
                </a:cubicBezTo>
                <a:cubicBezTo>
                  <a:pt x="4961" y="2033"/>
                  <a:pt x="4961" y="2100"/>
                  <a:pt x="4976" y="2148"/>
                </a:cubicBezTo>
                <a:cubicBezTo>
                  <a:pt x="4978" y="2154"/>
                  <a:pt x="4980" y="2160"/>
                  <a:pt x="4982" y="2166"/>
                </a:cubicBezTo>
                <a:cubicBezTo>
                  <a:pt x="5000" y="2214"/>
                  <a:pt x="5027" y="2258"/>
                  <a:pt x="5048" y="2303"/>
                </a:cubicBezTo>
                <a:cubicBezTo>
                  <a:pt x="5049" y="2308"/>
                  <a:pt x="5049" y="2312"/>
                  <a:pt x="5050" y="2317"/>
                </a:cubicBezTo>
                <a:cubicBezTo>
                  <a:pt x="5050" y="2322"/>
                  <a:pt x="5050" y="2326"/>
                  <a:pt x="5050" y="2331"/>
                </a:cubicBezTo>
                <a:cubicBezTo>
                  <a:pt x="5049" y="2389"/>
                  <a:pt x="5031" y="2451"/>
                  <a:pt x="5086" y="2481"/>
                </a:cubicBezTo>
                <a:cubicBezTo>
                  <a:pt x="5091" y="2484"/>
                  <a:pt x="5095" y="2486"/>
                  <a:pt x="5100" y="2489"/>
                </a:cubicBezTo>
                <a:cubicBezTo>
                  <a:pt x="5104" y="2491"/>
                  <a:pt x="5109" y="2493"/>
                  <a:pt x="5113" y="2496"/>
                </a:cubicBezTo>
                <a:cubicBezTo>
                  <a:pt x="5158" y="2503"/>
                  <a:pt x="5184" y="2533"/>
                  <a:pt x="5193" y="2570"/>
                </a:cubicBezTo>
                <a:cubicBezTo>
                  <a:pt x="5194" y="2575"/>
                  <a:pt x="5195" y="2580"/>
                  <a:pt x="5196" y="2586"/>
                </a:cubicBezTo>
                <a:cubicBezTo>
                  <a:pt x="5205" y="2609"/>
                  <a:pt x="5195" y="2632"/>
                  <a:pt x="5196" y="2654"/>
                </a:cubicBezTo>
                <a:cubicBezTo>
                  <a:pt x="5196" y="2659"/>
                  <a:pt x="5196" y="2663"/>
                  <a:pt x="5198" y="2668"/>
                </a:cubicBezTo>
                <a:cubicBezTo>
                  <a:pt x="5199" y="2671"/>
                  <a:pt x="5200" y="2675"/>
                  <a:pt x="5201" y="2678"/>
                </a:cubicBezTo>
                <a:moveTo>
                  <a:pt x="4" y="2907"/>
                </a:moveTo>
                <a:lnTo>
                  <a:pt x="6" y="2927"/>
                </a:lnTo>
                <a:lnTo>
                  <a:pt x="5236" y="2927"/>
                </a:lnTo>
                <a:cubicBezTo>
                  <a:pt x="5240" y="2927"/>
                  <a:pt x="5244" y="2927"/>
                  <a:pt x="5247" y="2927"/>
                </a:cubicBezTo>
                <a:cubicBezTo>
                  <a:pt x="5260" y="2928"/>
                  <a:pt x="5272" y="2928"/>
                  <a:pt x="5285" y="2928"/>
                </a:cubicBezTo>
                <a:cubicBezTo>
                  <a:pt x="5289" y="2928"/>
                  <a:pt x="5293" y="2928"/>
                  <a:pt x="5297" y="2928"/>
                </a:cubicBezTo>
                <a:cubicBezTo>
                  <a:pt x="5328" y="2929"/>
                  <a:pt x="5366" y="2937"/>
                  <a:pt x="5379" y="2924"/>
                </a:cubicBezTo>
                <a:cubicBezTo>
                  <a:pt x="5440" y="2840"/>
                  <a:pt x="5323" y="2800"/>
                  <a:pt x="5278" y="2742"/>
                </a:cubicBezTo>
                <a:cubicBezTo>
                  <a:pt x="5275" y="2738"/>
                  <a:pt x="5271" y="2734"/>
                  <a:pt x="5268" y="2729"/>
                </a:cubicBezTo>
                <a:cubicBezTo>
                  <a:pt x="5264" y="2725"/>
                  <a:pt x="5261" y="2720"/>
                  <a:pt x="5258" y="2716"/>
                </a:cubicBezTo>
                <a:cubicBezTo>
                  <a:pt x="5254" y="2712"/>
                  <a:pt x="5251" y="2708"/>
                  <a:pt x="5248" y="2704"/>
                </a:cubicBezTo>
                <a:cubicBezTo>
                  <a:pt x="5240" y="2691"/>
                  <a:pt x="5234" y="2676"/>
                  <a:pt x="5230" y="2659"/>
                </a:cubicBezTo>
                <a:cubicBezTo>
                  <a:pt x="5229" y="2654"/>
                  <a:pt x="5228" y="2648"/>
                  <a:pt x="5228" y="2642"/>
                </a:cubicBezTo>
                <a:cubicBezTo>
                  <a:pt x="5227" y="2637"/>
                  <a:pt x="5227" y="2633"/>
                  <a:pt x="5227" y="2628"/>
                </a:cubicBezTo>
                <a:cubicBezTo>
                  <a:pt x="5227" y="2623"/>
                  <a:pt x="5228" y="2617"/>
                  <a:pt x="5230" y="2612"/>
                </a:cubicBezTo>
                <a:cubicBezTo>
                  <a:pt x="5232" y="2605"/>
                  <a:pt x="5233" y="2599"/>
                  <a:pt x="5233" y="2593"/>
                </a:cubicBezTo>
                <a:cubicBezTo>
                  <a:pt x="5240" y="2530"/>
                  <a:pt x="5202" y="2480"/>
                  <a:pt x="5136" y="2473"/>
                </a:cubicBezTo>
                <a:cubicBezTo>
                  <a:pt x="5131" y="2471"/>
                  <a:pt x="5125" y="2469"/>
                  <a:pt x="5120" y="2467"/>
                </a:cubicBezTo>
                <a:cubicBezTo>
                  <a:pt x="5110" y="2462"/>
                  <a:pt x="5100" y="2457"/>
                  <a:pt x="5090" y="2450"/>
                </a:cubicBezTo>
                <a:cubicBezTo>
                  <a:pt x="5086" y="2441"/>
                  <a:pt x="5078" y="2432"/>
                  <a:pt x="5078" y="2423"/>
                </a:cubicBezTo>
                <a:cubicBezTo>
                  <a:pt x="5075" y="2392"/>
                  <a:pt x="5082" y="2361"/>
                  <a:pt x="5085" y="2331"/>
                </a:cubicBezTo>
                <a:cubicBezTo>
                  <a:pt x="5086" y="2320"/>
                  <a:pt x="5087" y="2310"/>
                  <a:pt x="5086" y="2300"/>
                </a:cubicBezTo>
                <a:cubicBezTo>
                  <a:pt x="5086" y="2295"/>
                  <a:pt x="5086" y="2290"/>
                  <a:pt x="5085" y="2285"/>
                </a:cubicBezTo>
                <a:cubicBezTo>
                  <a:pt x="5084" y="2281"/>
                  <a:pt x="5082" y="2276"/>
                  <a:pt x="5081" y="2272"/>
                </a:cubicBezTo>
                <a:cubicBezTo>
                  <a:pt x="5052" y="2228"/>
                  <a:pt x="5009" y="2193"/>
                  <a:pt x="5011" y="2134"/>
                </a:cubicBezTo>
                <a:cubicBezTo>
                  <a:pt x="5010" y="2128"/>
                  <a:pt x="5008" y="2122"/>
                  <a:pt x="5006" y="2116"/>
                </a:cubicBezTo>
                <a:cubicBezTo>
                  <a:pt x="5004" y="2105"/>
                  <a:pt x="5001" y="2095"/>
                  <a:pt x="4999" y="2085"/>
                </a:cubicBezTo>
                <a:cubicBezTo>
                  <a:pt x="4997" y="2074"/>
                  <a:pt x="4995" y="2064"/>
                  <a:pt x="4993" y="2053"/>
                </a:cubicBezTo>
                <a:cubicBezTo>
                  <a:pt x="5000" y="1967"/>
                  <a:pt x="4905" y="1958"/>
                  <a:pt x="4846" y="1973"/>
                </a:cubicBezTo>
                <a:cubicBezTo>
                  <a:pt x="4841" y="1974"/>
                  <a:pt x="4836" y="1975"/>
                  <a:pt x="4831" y="1976"/>
                </a:cubicBezTo>
                <a:cubicBezTo>
                  <a:pt x="4796" y="1979"/>
                  <a:pt x="4763" y="1960"/>
                  <a:pt x="4733" y="1976"/>
                </a:cubicBezTo>
                <a:cubicBezTo>
                  <a:pt x="4685" y="2002"/>
                  <a:pt x="4728" y="2060"/>
                  <a:pt x="4722" y="2106"/>
                </a:cubicBezTo>
                <a:cubicBezTo>
                  <a:pt x="4719" y="2110"/>
                  <a:pt x="4715" y="2113"/>
                  <a:pt x="4712" y="2116"/>
                </a:cubicBezTo>
                <a:cubicBezTo>
                  <a:pt x="4677" y="2143"/>
                  <a:pt x="4620" y="2137"/>
                  <a:pt x="4580" y="2116"/>
                </a:cubicBezTo>
                <a:cubicBezTo>
                  <a:pt x="4575" y="2114"/>
                  <a:pt x="4570" y="2112"/>
                  <a:pt x="4565" y="2110"/>
                </a:cubicBezTo>
                <a:cubicBezTo>
                  <a:pt x="4547" y="2104"/>
                  <a:pt x="4529" y="2101"/>
                  <a:pt x="4508" y="2105"/>
                </a:cubicBezTo>
                <a:cubicBezTo>
                  <a:pt x="4504" y="2106"/>
                  <a:pt x="4500" y="2107"/>
                  <a:pt x="4495" y="2109"/>
                </a:cubicBezTo>
                <a:cubicBezTo>
                  <a:pt x="4444" y="2113"/>
                  <a:pt x="4409" y="2078"/>
                  <a:pt x="4361" y="2069"/>
                </a:cubicBezTo>
                <a:cubicBezTo>
                  <a:pt x="4357" y="2067"/>
                  <a:pt x="4354" y="2062"/>
                  <a:pt x="4352" y="2058"/>
                </a:cubicBezTo>
                <a:cubicBezTo>
                  <a:pt x="4349" y="2051"/>
                  <a:pt x="4349" y="2038"/>
                  <a:pt x="4349" y="2029"/>
                </a:cubicBezTo>
                <a:cubicBezTo>
                  <a:pt x="4349" y="2027"/>
                  <a:pt x="4350" y="2025"/>
                  <a:pt x="4350" y="2023"/>
                </a:cubicBezTo>
                <a:cubicBezTo>
                  <a:pt x="4357" y="1980"/>
                  <a:pt x="4413" y="1963"/>
                  <a:pt x="4400" y="1914"/>
                </a:cubicBezTo>
                <a:cubicBezTo>
                  <a:pt x="4387" y="1874"/>
                  <a:pt x="4336" y="1865"/>
                  <a:pt x="4298" y="1855"/>
                </a:cubicBezTo>
                <a:cubicBezTo>
                  <a:pt x="4293" y="1852"/>
                  <a:pt x="4289" y="1849"/>
                  <a:pt x="4285" y="1846"/>
                </a:cubicBezTo>
                <a:cubicBezTo>
                  <a:pt x="4274" y="1836"/>
                  <a:pt x="4267" y="1824"/>
                  <a:pt x="4269" y="1807"/>
                </a:cubicBezTo>
                <a:cubicBezTo>
                  <a:pt x="4269" y="1806"/>
                  <a:pt x="4269" y="1805"/>
                  <a:pt x="4268" y="1804"/>
                </a:cubicBezTo>
                <a:cubicBezTo>
                  <a:pt x="4258" y="1760"/>
                  <a:pt x="4223" y="1740"/>
                  <a:pt x="4193" y="1717"/>
                </a:cubicBezTo>
                <a:cubicBezTo>
                  <a:pt x="4189" y="1713"/>
                  <a:pt x="4184" y="1710"/>
                  <a:pt x="4180" y="1706"/>
                </a:cubicBezTo>
                <a:cubicBezTo>
                  <a:pt x="4150" y="1683"/>
                  <a:pt x="4137" y="1648"/>
                  <a:pt x="4124" y="1613"/>
                </a:cubicBezTo>
                <a:cubicBezTo>
                  <a:pt x="4121" y="1607"/>
                  <a:pt x="4118" y="1601"/>
                  <a:pt x="4116" y="1595"/>
                </a:cubicBezTo>
                <a:cubicBezTo>
                  <a:pt x="4102" y="1566"/>
                  <a:pt x="4087" y="1539"/>
                  <a:pt x="4074" y="1512"/>
                </a:cubicBezTo>
                <a:cubicBezTo>
                  <a:pt x="4071" y="1506"/>
                  <a:pt x="4068" y="1501"/>
                  <a:pt x="4065" y="1496"/>
                </a:cubicBezTo>
                <a:cubicBezTo>
                  <a:pt x="4050" y="1470"/>
                  <a:pt x="4036" y="1443"/>
                  <a:pt x="4030" y="1412"/>
                </a:cubicBezTo>
                <a:cubicBezTo>
                  <a:pt x="4029" y="1406"/>
                  <a:pt x="4028" y="1400"/>
                  <a:pt x="4027" y="1394"/>
                </a:cubicBezTo>
                <a:cubicBezTo>
                  <a:pt x="4024" y="1369"/>
                  <a:pt x="4025" y="1343"/>
                  <a:pt x="4020" y="1321"/>
                </a:cubicBezTo>
                <a:cubicBezTo>
                  <a:pt x="4019" y="1320"/>
                  <a:pt x="4018" y="1319"/>
                  <a:pt x="4018" y="1317"/>
                </a:cubicBezTo>
                <a:cubicBezTo>
                  <a:pt x="4007" y="1295"/>
                  <a:pt x="3991" y="1281"/>
                  <a:pt x="4004" y="1245"/>
                </a:cubicBezTo>
                <a:cubicBezTo>
                  <a:pt x="4008" y="1236"/>
                  <a:pt x="3999" y="1223"/>
                  <a:pt x="3993" y="1213"/>
                </a:cubicBezTo>
                <a:cubicBezTo>
                  <a:pt x="3989" y="1204"/>
                  <a:pt x="3983" y="1196"/>
                  <a:pt x="3978" y="1188"/>
                </a:cubicBezTo>
                <a:cubicBezTo>
                  <a:pt x="3942" y="1132"/>
                  <a:pt x="3897" y="1077"/>
                  <a:pt x="3903" y="1005"/>
                </a:cubicBezTo>
                <a:cubicBezTo>
                  <a:pt x="3902" y="996"/>
                  <a:pt x="3901" y="987"/>
                  <a:pt x="3900" y="979"/>
                </a:cubicBezTo>
                <a:cubicBezTo>
                  <a:pt x="3895" y="944"/>
                  <a:pt x="3887" y="912"/>
                  <a:pt x="3866" y="883"/>
                </a:cubicBezTo>
                <a:cubicBezTo>
                  <a:pt x="3860" y="875"/>
                  <a:pt x="3853" y="867"/>
                  <a:pt x="3845" y="859"/>
                </a:cubicBezTo>
                <a:cubicBezTo>
                  <a:pt x="3839" y="854"/>
                  <a:pt x="3833" y="849"/>
                  <a:pt x="3827" y="845"/>
                </a:cubicBezTo>
                <a:cubicBezTo>
                  <a:pt x="3836" y="850"/>
                  <a:pt x="3844" y="850"/>
                  <a:pt x="3853" y="855"/>
                </a:cubicBezTo>
                <a:cubicBezTo>
                  <a:pt x="3846" y="853"/>
                  <a:pt x="3840" y="851"/>
                  <a:pt x="3833" y="849"/>
                </a:cubicBezTo>
                <a:cubicBezTo>
                  <a:pt x="3775" y="801"/>
                  <a:pt x="3689" y="771"/>
                  <a:pt x="3644" y="708"/>
                </a:cubicBezTo>
                <a:cubicBezTo>
                  <a:pt x="3640" y="703"/>
                  <a:pt x="3637" y="698"/>
                  <a:pt x="3634" y="693"/>
                </a:cubicBezTo>
                <a:cubicBezTo>
                  <a:pt x="3646" y="638"/>
                  <a:pt x="3637" y="585"/>
                  <a:pt x="3590" y="554"/>
                </a:cubicBezTo>
                <a:cubicBezTo>
                  <a:pt x="3586" y="551"/>
                  <a:pt x="3583" y="547"/>
                  <a:pt x="3579" y="543"/>
                </a:cubicBezTo>
                <a:cubicBezTo>
                  <a:pt x="3559" y="525"/>
                  <a:pt x="3538" y="507"/>
                  <a:pt x="3510" y="496"/>
                </a:cubicBezTo>
                <a:cubicBezTo>
                  <a:pt x="3507" y="494"/>
                  <a:pt x="3503" y="492"/>
                  <a:pt x="3499" y="490"/>
                </a:cubicBezTo>
                <a:cubicBezTo>
                  <a:pt x="3489" y="484"/>
                  <a:pt x="3479" y="478"/>
                  <a:pt x="3469" y="472"/>
                </a:cubicBezTo>
                <a:cubicBezTo>
                  <a:pt x="3465" y="469"/>
                  <a:pt x="3461" y="466"/>
                  <a:pt x="3457" y="464"/>
                </a:cubicBezTo>
                <a:cubicBezTo>
                  <a:pt x="3448" y="457"/>
                  <a:pt x="3437" y="451"/>
                  <a:pt x="3425" y="446"/>
                </a:cubicBezTo>
                <a:cubicBezTo>
                  <a:pt x="3421" y="444"/>
                  <a:pt x="3417" y="442"/>
                  <a:pt x="3413" y="441"/>
                </a:cubicBezTo>
                <a:cubicBezTo>
                  <a:pt x="3408" y="438"/>
                  <a:pt x="3403" y="436"/>
                  <a:pt x="3397" y="434"/>
                </a:cubicBezTo>
                <a:cubicBezTo>
                  <a:pt x="3392" y="432"/>
                  <a:pt x="3387" y="431"/>
                  <a:pt x="3381" y="429"/>
                </a:cubicBezTo>
                <a:cubicBezTo>
                  <a:pt x="3348" y="421"/>
                  <a:pt x="3275" y="425"/>
                  <a:pt x="3286" y="371"/>
                </a:cubicBezTo>
                <a:cubicBezTo>
                  <a:pt x="3288" y="366"/>
                  <a:pt x="3291" y="362"/>
                  <a:pt x="3296" y="359"/>
                </a:cubicBezTo>
                <a:cubicBezTo>
                  <a:pt x="3302" y="357"/>
                  <a:pt x="3308" y="356"/>
                  <a:pt x="3313" y="353"/>
                </a:cubicBezTo>
                <a:cubicBezTo>
                  <a:pt x="3346" y="336"/>
                  <a:pt x="3354" y="289"/>
                  <a:pt x="3331" y="266"/>
                </a:cubicBezTo>
                <a:cubicBezTo>
                  <a:pt x="3296" y="221"/>
                  <a:pt x="3236" y="226"/>
                  <a:pt x="3199" y="190"/>
                </a:cubicBezTo>
                <a:cubicBezTo>
                  <a:pt x="3195" y="187"/>
                  <a:pt x="3191" y="183"/>
                  <a:pt x="3187" y="179"/>
                </a:cubicBezTo>
                <a:cubicBezTo>
                  <a:pt x="3172" y="163"/>
                  <a:pt x="3159" y="145"/>
                  <a:pt x="3151" y="122"/>
                </a:cubicBezTo>
                <a:cubicBezTo>
                  <a:pt x="3148" y="116"/>
                  <a:pt x="3146" y="111"/>
                  <a:pt x="3144" y="105"/>
                </a:cubicBezTo>
                <a:cubicBezTo>
                  <a:pt x="3140" y="101"/>
                  <a:pt x="3137" y="97"/>
                  <a:pt x="3133" y="92"/>
                </a:cubicBezTo>
                <a:cubicBezTo>
                  <a:pt x="3109" y="67"/>
                  <a:pt x="3081" y="46"/>
                  <a:pt x="3049" y="29"/>
                </a:cubicBezTo>
                <a:cubicBezTo>
                  <a:pt x="3044" y="26"/>
                  <a:pt x="3040" y="23"/>
                  <a:pt x="3035" y="21"/>
                </a:cubicBezTo>
                <a:cubicBezTo>
                  <a:pt x="3030" y="18"/>
                  <a:pt x="3025" y="16"/>
                  <a:pt x="3020" y="14"/>
                </a:cubicBezTo>
                <a:cubicBezTo>
                  <a:pt x="2947" y="0"/>
                  <a:pt x="2887" y="66"/>
                  <a:pt x="2843" y="121"/>
                </a:cubicBezTo>
                <a:cubicBezTo>
                  <a:pt x="2839" y="125"/>
                  <a:pt x="2834" y="129"/>
                  <a:pt x="2828" y="132"/>
                </a:cubicBezTo>
                <a:cubicBezTo>
                  <a:pt x="2823" y="135"/>
                  <a:pt x="2817" y="137"/>
                  <a:pt x="2810" y="138"/>
                </a:cubicBezTo>
                <a:cubicBezTo>
                  <a:pt x="2805" y="139"/>
                  <a:pt x="2801" y="141"/>
                  <a:pt x="2797" y="143"/>
                </a:cubicBezTo>
                <a:cubicBezTo>
                  <a:pt x="2785" y="148"/>
                  <a:pt x="2774" y="159"/>
                  <a:pt x="2766" y="177"/>
                </a:cubicBezTo>
                <a:cubicBezTo>
                  <a:pt x="2763" y="182"/>
                  <a:pt x="2760" y="187"/>
                  <a:pt x="2757" y="193"/>
                </a:cubicBezTo>
                <a:cubicBezTo>
                  <a:pt x="2740" y="230"/>
                  <a:pt x="2731" y="281"/>
                  <a:pt x="2706" y="310"/>
                </a:cubicBezTo>
                <a:cubicBezTo>
                  <a:pt x="2702" y="315"/>
                  <a:pt x="2699" y="320"/>
                  <a:pt x="2695" y="326"/>
                </a:cubicBezTo>
                <a:cubicBezTo>
                  <a:pt x="2691" y="332"/>
                  <a:pt x="2687" y="338"/>
                  <a:pt x="2683" y="343"/>
                </a:cubicBezTo>
                <a:cubicBezTo>
                  <a:pt x="2662" y="372"/>
                  <a:pt x="2632" y="336"/>
                  <a:pt x="2606" y="359"/>
                </a:cubicBezTo>
                <a:cubicBezTo>
                  <a:pt x="2576" y="385"/>
                  <a:pt x="2580" y="456"/>
                  <a:pt x="2525" y="451"/>
                </a:cubicBezTo>
                <a:cubicBezTo>
                  <a:pt x="2521" y="451"/>
                  <a:pt x="2517" y="450"/>
                  <a:pt x="2514" y="450"/>
                </a:cubicBezTo>
                <a:cubicBezTo>
                  <a:pt x="2502" y="448"/>
                  <a:pt x="2492" y="446"/>
                  <a:pt x="2482" y="444"/>
                </a:cubicBezTo>
                <a:cubicBezTo>
                  <a:pt x="2476" y="443"/>
                  <a:pt x="2470" y="441"/>
                  <a:pt x="2464" y="439"/>
                </a:cubicBezTo>
                <a:cubicBezTo>
                  <a:pt x="2454" y="430"/>
                  <a:pt x="2444" y="422"/>
                  <a:pt x="2433" y="415"/>
                </a:cubicBezTo>
                <a:cubicBezTo>
                  <a:pt x="2427" y="411"/>
                  <a:pt x="2422" y="408"/>
                  <a:pt x="2417" y="404"/>
                </a:cubicBezTo>
                <a:cubicBezTo>
                  <a:pt x="2395" y="381"/>
                  <a:pt x="2417" y="336"/>
                  <a:pt x="2382" y="332"/>
                </a:cubicBezTo>
                <a:cubicBezTo>
                  <a:pt x="2335" y="332"/>
                  <a:pt x="2296" y="367"/>
                  <a:pt x="2248" y="376"/>
                </a:cubicBezTo>
                <a:cubicBezTo>
                  <a:pt x="2244" y="376"/>
                  <a:pt x="2240" y="376"/>
                  <a:pt x="2236" y="375"/>
                </a:cubicBezTo>
                <a:cubicBezTo>
                  <a:pt x="2223" y="372"/>
                  <a:pt x="2210" y="365"/>
                  <a:pt x="2198" y="359"/>
                </a:cubicBezTo>
                <a:cubicBezTo>
                  <a:pt x="2192" y="355"/>
                  <a:pt x="2186" y="351"/>
                  <a:pt x="2180" y="348"/>
                </a:cubicBezTo>
                <a:cubicBezTo>
                  <a:pt x="2174" y="345"/>
                  <a:pt x="2167" y="343"/>
                  <a:pt x="2160" y="343"/>
                </a:cubicBezTo>
                <a:cubicBezTo>
                  <a:pt x="2130" y="343"/>
                  <a:pt x="2113" y="376"/>
                  <a:pt x="2091" y="440"/>
                </a:cubicBezTo>
                <a:cubicBezTo>
                  <a:pt x="2083" y="466"/>
                  <a:pt x="2076" y="487"/>
                  <a:pt x="2070" y="504"/>
                </a:cubicBezTo>
                <a:cubicBezTo>
                  <a:pt x="2068" y="508"/>
                  <a:pt x="2067" y="512"/>
                  <a:pt x="2065" y="516"/>
                </a:cubicBezTo>
                <a:cubicBezTo>
                  <a:pt x="2054" y="558"/>
                  <a:pt x="2016" y="567"/>
                  <a:pt x="1998" y="602"/>
                </a:cubicBezTo>
                <a:cubicBezTo>
                  <a:pt x="1981" y="655"/>
                  <a:pt x="2011" y="731"/>
                  <a:pt x="1960" y="770"/>
                </a:cubicBezTo>
                <a:cubicBezTo>
                  <a:pt x="1956" y="772"/>
                  <a:pt x="1952" y="774"/>
                  <a:pt x="1948" y="776"/>
                </a:cubicBezTo>
                <a:cubicBezTo>
                  <a:pt x="1944" y="779"/>
                  <a:pt x="1941" y="781"/>
                  <a:pt x="1938" y="784"/>
                </a:cubicBezTo>
                <a:cubicBezTo>
                  <a:pt x="1933" y="790"/>
                  <a:pt x="1930" y="796"/>
                  <a:pt x="1927" y="803"/>
                </a:cubicBezTo>
                <a:cubicBezTo>
                  <a:pt x="1912" y="895"/>
                  <a:pt x="1886" y="983"/>
                  <a:pt x="1901" y="1078"/>
                </a:cubicBezTo>
                <a:cubicBezTo>
                  <a:pt x="1901" y="1088"/>
                  <a:pt x="1900" y="1099"/>
                  <a:pt x="1899" y="1110"/>
                </a:cubicBezTo>
                <a:cubicBezTo>
                  <a:pt x="1899" y="1115"/>
                  <a:pt x="1898" y="1121"/>
                  <a:pt x="1898" y="1126"/>
                </a:cubicBezTo>
                <a:cubicBezTo>
                  <a:pt x="1897" y="1132"/>
                  <a:pt x="1896" y="1137"/>
                  <a:pt x="1895" y="1143"/>
                </a:cubicBezTo>
                <a:cubicBezTo>
                  <a:pt x="1886" y="1174"/>
                  <a:pt x="1865" y="1200"/>
                  <a:pt x="1836" y="1201"/>
                </a:cubicBezTo>
                <a:cubicBezTo>
                  <a:pt x="1831" y="1202"/>
                  <a:pt x="1826" y="1202"/>
                  <a:pt x="1820" y="1201"/>
                </a:cubicBezTo>
                <a:cubicBezTo>
                  <a:pt x="1815" y="1202"/>
                  <a:pt x="1809" y="1202"/>
                  <a:pt x="1803" y="1202"/>
                </a:cubicBezTo>
                <a:cubicBezTo>
                  <a:pt x="1779" y="1202"/>
                  <a:pt x="1754" y="1198"/>
                  <a:pt x="1732" y="1196"/>
                </a:cubicBezTo>
                <a:cubicBezTo>
                  <a:pt x="1726" y="1195"/>
                  <a:pt x="1719" y="1194"/>
                  <a:pt x="1712" y="1193"/>
                </a:cubicBezTo>
                <a:cubicBezTo>
                  <a:pt x="1680" y="1189"/>
                  <a:pt x="1648" y="1189"/>
                  <a:pt x="1622" y="1209"/>
                </a:cubicBezTo>
                <a:cubicBezTo>
                  <a:pt x="1618" y="1213"/>
                  <a:pt x="1614" y="1216"/>
                  <a:pt x="1610" y="1220"/>
                </a:cubicBezTo>
                <a:cubicBezTo>
                  <a:pt x="1598" y="1232"/>
                  <a:pt x="1588" y="1247"/>
                  <a:pt x="1578" y="1264"/>
                </a:cubicBezTo>
                <a:cubicBezTo>
                  <a:pt x="1575" y="1268"/>
                  <a:pt x="1573" y="1273"/>
                  <a:pt x="1570" y="1277"/>
                </a:cubicBezTo>
                <a:cubicBezTo>
                  <a:pt x="1566" y="1301"/>
                  <a:pt x="1557" y="1328"/>
                  <a:pt x="1543" y="1351"/>
                </a:cubicBezTo>
                <a:cubicBezTo>
                  <a:pt x="1540" y="1355"/>
                  <a:pt x="1537" y="1360"/>
                  <a:pt x="1534" y="1364"/>
                </a:cubicBezTo>
                <a:cubicBezTo>
                  <a:pt x="1520" y="1395"/>
                  <a:pt x="1489" y="1418"/>
                  <a:pt x="1461" y="1436"/>
                </a:cubicBezTo>
                <a:cubicBezTo>
                  <a:pt x="1456" y="1439"/>
                  <a:pt x="1451" y="1443"/>
                  <a:pt x="1446" y="1446"/>
                </a:cubicBezTo>
                <a:cubicBezTo>
                  <a:pt x="1410" y="1472"/>
                  <a:pt x="1382" y="1499"/>
                  <a:pt x="1393" y="1556"/>
                </a:cubicBezTo>
                <a:cubicBezTo>
                  <a:pt x="1392" y="1561"/>
                  <a:pt x="1391" y="1566"/>
                  <a:pt x="1390" y="1571"/>
                </a:cubicBezTo>
                <a:cubicBezTo>
                  <a:pt x="1345" y="1634"/>
                  <a:pt x="1285" y="1707"/>
                  <a:pt x="1213" y="1734"/>
                </a:cubicBezTo>
                <a:cubicBezTo>
                  <a:pt x="1207" y="1736"/>
                  <a:pt x="1201" y="1738"/>
                  <a:pt x="1195" y="1740"/>
                </a:cubicBezTo>
                <a:cubicBezTo>
                  <a:pt x="1186" y="1742"/>
                  <a:pt x="1175" y="1745"/>
                  <a:pt x="1165" y="1746"/>
                </a:cubicBezTo>
                <a:cubicBezTo>
                  <a:pt x="1160" y="1747"/>
                  <a:pt x="1155" y="1748"/>
                  <a:pt x="1150" y="1748"/>
                </a:cubicBezTo>
                <a:cubicBezTo>
                  <a:pt x="1136" y="1754"/>
                  <a:pt x="1123" y="1750"/>
                  <a:pt x="1114" y="1741"/>
                </a:cubicBezTo>
                <a:cubicBezTo>
                  <a:pt x="1109" y="1738"/>
                  <a:pt x="1105" y="1734"/>
                  <a:pt x="1102" y="1729"/>
                </a:cubicBezTo>
                <a:cubicBezTo>
                  <a:pt x="1084" y="1613"/>
                  <a:pt x="998" y="1608"/>
                  <a:pt x="913" y="1656"/>
                </a:cubicBezTo>
                <a:cubicBezTo>
                  <a:pt x="907" y="1657"/>
                  <a:pt x="900" y="1657"/>
                  <a:pt x="894" y="1656"/>
                </a:cubicBezTo>
                <a:cubicBezTo>
                  <a:pt x="851" y="1650"/>
                  <a:pt x="820" y="1601"/>
                  <a:pt x="786" y="1617"/>
                </a:cubicBezTo>
                <a:cubicBezTo>
                  <a:pt x="772" y="1625"/>
                  <a:pt x="762" y="1636"/>
                  <a:pt x="754" y="1648"/>
                </a:cubicBezTo>
                <a:cubicBezTo>
                  <a:pt x="750" y="1655"/>
                  <a:pt x="747" y="1661"/>
                  <a:pt x="744" y="1668"/>
                </a:cubicBezTo>
                <a:cubicBezTo>
                  <a:pt x="742" y="1699"/>
                  <a:pt x="732" y="1721"/>
                  <a:pt x="718" y="1738"/>
                </a:cubicBezTo>
                <a:cubicBezTo>
                  <a:pt x="715" y="1741"/>
                  <a:pt x="711" y="1744"/>
                  <a:pt x="708" y="1747"/>
                </a:cubicBezTo>
                <a:cubicBezTo>
                  <a:pt x="704" y="1752"/>
                  <a:pt x="701" y="1757"/>
                  <a:pt x="698" y="1762"/>
                </a:cubicBezTo>
                <a:cubicBezTo>
                  <a:pt x="695" y="1767"/>
                  <a:pt x="692" y="1772"/>
                  <a:pt x="689" y="1777"/>
                </a:cubicBezTo>
                <a:cubicBezTo>
                  <a:pt x="688" y="1784"/>
                  <a:pt x="687" y="1789"/>
                  <a:pt x="684" y="1795"/>
                </a:cubicBezTo>
                <a:cubicBezTo>
                  <a:pt x="682" y="1800"/>
                  <a:pt x="679" y="1804"/>
                  <a:pt x="676" y="1808"/>
                </a:cubicBezTo>
                <a:cubicBezTo>
                  <a:pt x="660" y="1825"/>
                  <a:pt x="644" y="1843"/>
                  <a:pt x="634" y="1862"/>
                </a:cubicBezTo>
                <a:cubicBezTo>
                  <a:pt x="632" y="1867"/>
                  <a:pt x="630" y="1872"/>
                  <a:pt x="629" y="1877"/>
                </a:cubicBezTo>
                <a:cubicBezTo>
                  <a:pt x="631" y="1915"/>
                  <a:pt x="655" y="1949"/>
                  <a:pt x="651" y="1982"/>
                </a:cubicBezTo>
                <a:cubicBezTo>
                  <a:pt x="650" y="1988"/>
                  <a:pt x="648" y="1993"/>
                  <a:pt x="646" y="1999"/>
                </a:cubicBezTo>
                <a:cubicBezTo>
                  <a:pt x="631" y="2033"/>
                  <a:pt x="618" y="2065"/>
                  <a:pt x="599" y="2097"/>
                </a:cubicBezTo>
                <a:cubicBezTo>
                  <a:pt x="596" y="2102"/>
                  <a:pt x="594" y="2108"/>
                  <a:pt x="591" y="2113"/>
                </a:cubicBezTo>
                <a:cubicBezTo>
                  <a:pt x="577" y="2150"/>
                  <a:pt x="575" y="2192"/>
                  <a:pt x="582" y="2232"/>
                </a:cubicBezTo>
                <a:cubicBezTo>
                  <a:pt x="583" y="2237"/>
                  <a:pt x="584" y="2243"/>
                  <a:pt x="586" y="2249"/>
                </a:cubicBezTo>
                <a:cubicBezTo>
                  <a:pt x="601" y="2277"/>
                  <a:pt x="601" y="2304"/>
                  <a:pt x="581" y="2326"/>
                </a:cubicBezTo>
                <a:cubicBezTo>
                  <a:pt x="577" y="2330"/>
                  <a:pt x="574" y="2333"/>
                  <a:pt x="569" y="2336"/>
                </a:cubicBezTo>
                <a:cubicBezTo>
                  <a:pt x="543" y="2353"/>
                  <a:pt x="503" y="2360"/>
                  <a:pt x="471" y="2371"/>
                </a:cubicBezTo>
                <a:cubicBezTo>
                  <a:pt x="466" y="2372"/>
                  <a:pt x="461" y="2374"/>
                  <a:pt x="457" y="2376"/>
                </a:cubicBezTo>
                <a:cubicBezTo>
                  <a:pt x="442" y="2379"/>
                  <a:pt x="427" y="2382"/>
                  <a:pt x="413" y="2386"/>
                </a:cubicBezTo>
                <a:cubicBezTo>
                  <a:pt x="408" y="2387"/>
                  <a:pt x="403" y="2388"/>
                  <a:pt x="398" y="2390"/>
                </a:cubicBezTo>
                <a:cubicBezTo>
                  <a:pt x="379" y="2402"/>
                  <a:pt x="359" y="2412"/>
                  <a:pt x="339" y="2420"/>
                </a:cubicBezTo>
                <a:cubicBezTo>
                  <a:pt x="333" y="2422"/>
                  <a:pt x="328" y="2424"/>
                  <a:pt x="323" y="2426"/>
                </a:cubicBezTo>
                <a:cubicBezTo>
                  <a:pt x="282" y="2432"/>
                  <a:pt x="265" y="2477"/>
                  <a:pt x="260" y="2516"/>
                </a:cubicBezTo>
                <a:cubicBezTo>
                  <a:pt x="260" y="2543"/>
                  <a:pt x="221" y="2539"/>
                  <a:pt x="209" y="2560"/>
                </a:cubicBezTo>
                <a:cubicBezTo>
                  <a:pt x="205" y="2565"/>
                  <a:pt x="202" y="2570"/>
                  <a:pt x="199" y="2575"/>
                </a:cubicBezTo>
                <a:cubicBezTo>
                  <a:pt x="157" y="2672"/>
                  <a:pt x="118" y="2760"/>
                  <a:pt x="21" y="2809"/>
                </a:cubicBezTo>
                <a:cubicBezTo>
                  <a:pt x="18" y="2813"/>
                  <a:pt x="15" y="2817"/>
                  <a:pt x="12" y="2822"/>
                </a:cubicBezTo>
                <a:cubicBezTo>
                  <a:pt x="6" y="2832"/>
                  <a:pt x="3" y="2843"/>
                  <a:pt x="1" y="2856"/>
                </a:cubicBezTo>
                <a:cubicBezTo>
                  <a:pt x="0" y="2867"/>
                  <a:pt x="1" y="2878"/>
                  <a:pt x="2" y="2887"/>
                </a:cubicBezTo>
                <a:cubicBezTo>
                  <a:pt x="3" y="2896"/>
                  <a:pt x="3" y="2903"/>
                  <a:pt x="4" y="2907"/>
                </a:cubicBezTo>
              </a:path>
            </a:pathLst>
          </a:custGeom>
          <a:solidFill>
            <a:schemeClr val="accent4">
              <a:lumMod val="60000"/>
              <a:lumOff val="40000"/>
              <a:alpha val="68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B2F295-4A6E-4EBC-9278-BDDD729121D4}"/>
              </a:ext>
            </a:extLst>
          </p:cNvPr>
          <p:cNvSpPr/>
          <p:nvPr/>
        </p:nvSpPr>
        <p:spPr>
          <a:xfrm>
            <a:off x="2268463" y="2741631"/>
            <a:ext cx="3414867" cy="1374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24D29"/>
                </a:solidFill>
                <a:latin typeface="Open Sans" panose="020B0606030504020204"/>
              </a:rPr>
              <a:t> set up the Google Natural Language API and its service account credentials.</a:t>
            </a:r>
          </a:p>
          <a:p>
            <a:pPr marL="285750" indent="-285750" algn="r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CA" sz="2000" dirty="0">
                <a:solidFill>
                  <a:srgbClr val="E24D29"/>
                </a:solidFill>
                <a:latin typeface="Open Sans" panose="020B0606030504020204"/>
              </a:rPr>
              <a:t>CORB error</a:t>
            </a:r>
            <a:endParaRPr lang="en-US" sz="2000" dirty="0">
              <a:solidFill>
                <a:srgbClr val="E24D29"/>
              </a:solidFill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D698733-BAD8-4A78-8BF5-FE987E5FDC3F}"/>
              </a:ext>
            </a:extLst>
          </p:cNvPr>
          <p:cNvCxnSpPr>
            <a:cxnSpLocks/>
          </p:cNvCxnSpPr>
          <p:nvPr/>
        </p:nvCxnSpPr>
        <p:spPr>
          <a:xfrm>
            <a:off x="5840114" y="2487279"/>
            <a:ext cx="0" cy="1883441"/>
          </a:xfrm>
          <a:prstGeom prst="line">
            <a:avLst/>
          </a:prstGeom>
          <a:ln w="28575">
            <a:solidFill>
              <a:srgbClr val="E14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3DA5168-93DA-43A0-B2C8-EA5CD80F969A}"/>
              </a:ext>
            </a:extLst>
          </p:cNvPr>
          <p:cNvSpPr txBox="1"/>
          <p:nvPr/>
        </p:nvSpPr>
        <p:spPr>
          <a:xfrm>
            <a:off x="5996899" y="3139177"/>
            <a:ext cx="3940339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4000" b="1" spc="300" dirty="0">
                <a:solidFill>
                  <a:srgbClr val="E1441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val="3243882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2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2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4" fill="hold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26" grpId="0"/>
      <p:bldP spid="26" grpId="1"/>
      <p:bldP spid="28" grpId="0"/>
      <p:bldP spid="28" grpId="1"/>
      <p:bldP spid="28" grpId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33">
            <a:extLst>
              <a:ext uri="{FF2B5EF4-FFF2-40B4-BE49-F238E27FC236}">
                <a16:creationId xmlns:a16="http://schemas.microsoft.com/office/drawing/2014/main" id="{3A94E538-1837-4A46-9451-C14FC0FEE1F2}"/>
              </a:ext>
            </a:extLst>
          </p:cNvPr>
          <p:cNvSpPr>
            <a:spLocks/>
          </p:cNvSpPr>
          <p:nvPr/>
        </p:nvSpPr>
        <p:spPr bwMode="auto">
          <a:xfrm rot="558569">
            <a:off x="3782863" y="1371747"/>
            <a:ext cx="4114502" cy="4114502"/>
          </a:xfrm>
          <a:custGeom>
            <a:avLst/>
            <a:gdLst>
              <a:gd name="T0" fmla="*/ 3723 w 3894"/>
              <a:gd name="T1" fmla="*/ 38 h 3893"/>
              <a:gd name="T2" fmla="*/ 3317 w 3894"/>
              <a:gd name="T3" fmla="*/ 223 h 3893"/>
              <a:gd name="T4" fmla="*/ 3246 w 3894"/>
              <a:gd name="T5" fmla="*/ 272 h 3893"/>
              <a:gd name="T6" fmla="*/ 2585 w 3894"/>
              <a:gd name="T7" fmla="*/ 934 h 3893"/>
              <a:gd name="T8" fmla="*/ 306 w 3894"/>
              <a:gd name="T9" fmla="*/ 660 h 3893"/>
              <a:gd name="T10" fmla="*/ 194 w 3894"/>
              <a:gd name="T11" fmla="*/ 699 h 3893"/>
              <a:gd name="T12" fmla="*/ 68 w 3894"/>
              <a:gd name="T13" fmla="*/ 826 h 3893"/>
              <a:gd name="T14" fmla="*/ 108 w 3894"/>
              <a:gd name="T15" fmla="*/ 1046 h 3893"/>
              <a:gd name="T16" fmla="*/ 1741 w 3894"/>
              <a:gd name="T17" fmla="*/ 1778 h 3893"/>
              <a:gd name="T18" fmla="*/ 1272 w 3894"/>
              <a:gd name="T19" fmla="*/ 2246 h 3893"/>
              <a:gd name="T20" fmla="*/ 453 w 3894"/>
              <a:gd name="T21" fmla="*/ 2246 h 3893"/>
              <a:gd name="T22" fmla="*/ 357 w 3894"/>
              <a:gd name="T23" fmla="*/ 2286 h 3893"/>
              <a:gd name="T24" fmla="*/ 289 w 3894"/>
              <a:gd name="T25" fmla="*/ 2355 h 3893"/>
              <a:gd name="T26" fmla="*/ 331 w 3894"/>
              <a:gd name="T27" fmla="*/ 2575 h 3893"/>
              <a:gd name="T28" fmla="*/ 1022 w 3894"/>
              <a:gd name="T29" fmla="*/ 2871 h 3893"/>
              <a:gd name="T30" fmla="*/ 1318 w 3894"/>
              <a:gd name="T31" fmla="*/ 3562 h 3893"/>
              <a:gd name="T32" fmla="*/ 1538 w 3894"/>
              <a:gd name="T33" fmla="*/ 3604 h 3893"/>
              <a:gd name="T34" fmla="*/ 1607 w 3894"/>
              <a:gd name="T35" fmla="*/ 3536 h 3893"/>
              <a:gd name="T36" fmla="*/ 1647 w 3894"/>
              <a:gd name="T37" fmla="*/ 3440 h 3893"/>
              <a:gd name="T38" fmla="*/ 1647 w 3894"/>
              <a:gd name="T39" fmla="*/ 2621 h 3893"/>
              <a:gd name="T40" fmla="*/ 2116 w 3894"/>
              <a:gd name="T41" fmla="*/ 2152 h 3893"/>
              <a:gd name="T42" fmla="*/ 2848 w 3894"/>
              <a:gd name="T43" fmla="*/ 3785 h 3893"/>
              <a:gd name="T44" fmla="*/ 3067 w 3894"/>
              <a:gd name="T45" fmla="*/ 3826 h 3893"/>
              <a:gd name="T46" fmla="*/ 3194 w 3894"/>
              <a:gd name="T47" fmla="*/ 3699 h 3893"/>
              <a:gd name="T48" fmla="*/ 3233 w 3894"/>
              <a:gd name="T49" fmla="*/ 3587 h 3893"/>
              <a:gd name="T50" fmla="*/ 2959 w 3894"/>
              <a:gd name="T51" fmla="*/ 1308 h 3893"/>
              <a:gd name="T52" fmla="*/ 3621 w 3894"/>
              <a:gd name="T53" fmla="*/ 646 h 3893"/>
              <a:gd name="T54" fmla="*/ 3670 w 3894"/>
              <a:gd name="T55" fmla="*/ 576 h 3893"/>
              <a:gd name="T56" fmla="*/ 3855 w 3894"/>
              <a:gd name="T57" fmla="*/ 170 h 3893"/>
              <a:gd name="T58" fmla="*/ 3723 w 3894"/>
              <a:gd name="T59" fmla="*/ 38 h 3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894" h="3893">
                <a:moveTo>
                  <a:pt x="3723" y="38"/>
                </a:moveTo>
                <a:cubicBezTo>
                  <a:pt x="3317" y="223"/>
                  <a:pt x="3317" y="223"/>
                  <a:pt x="3317" y="223"/>
                </a:cubicBezTo>
                <a:cubicBezTo>
                  <a:pt x="3291" y="235"/>
                  <a:pt x="3267" y="251"/>
                  <a:pt x="3246" y="272"/>
                </a:cubicBezTo>
                <a:cubicBezTo>
                  <a:pt x="2585" y="934"/>
                  <a:pt x="2585" y="934"/>
                  <a:pt x="2585" y="934"/>
                </a:cubicBezTo>
                <a:cubicBezTo>
                  <a:pt x="306" y="660"/>
                  <a:pt x="306" y="660"/>
                  <a:pt x="306" y="660"/>
                </a:cubicBezTo>
                <a:cubicBezTo>
                  <a:pt x="265" y="656"/>
                  <a:pt x="224" y="670"/>
                  <a:pt x="194" y="699"/>
                </a:cubicBezTo>
                <a:cubicBezTo>
                  <a:pt x="68" y="826"/>
                  <a:pt x="68" y="826"/>
                  <a:pt x="68" y="826"/>
                </a:cubicBezTo>
                <a:cubicBezTo>
                  <a:pt x="0" y="893"/>
                  <a:pt x="21" y="1007"/>
                  <a:pt x="108" y="1046"/>
                </a:cubicBezTo>
                <a:cubicBezTo>
                  <a:pt x="1741" y="1778"/>
                  <a:pt x="1741" y="1778"/>
                  <a:pt x="1741" y="1778"/>
                </a:cubicBezTo>
                <a:cubicBezTo>
                  <a:pt x="1272" y="2246"/>
                  <a:pt x="1272" y="2246"/>
                  <a:pt x="1272" y="2246"/>
                </a:cubicBezTo>
                <a:cubicBezTo>
                  <a:pt x="453" y="2246"/>
                  <a:pt x="453" y="2246"/>
                  <a:pt x="453" y="2246"/>
                </a:cubicBezTo>
                <a:cubicBezTo>
                  <a:pt x="417" y="2246"/>
                  <a:pt x="383" y="2261"/>
                  <a:pt x="357" y="2286"/>
                </a:cubicBezTo>
                <a:cubicBezTo>
                  <a:pt x="289" y="2355"/>
                  <a:pt x="289" y="2355"/>
                  <a:pt x="289" y="2355"/>
                </a:cubicBezTo>
                <a:cubicBezTo>
                  <a:pt x="221" y="2423"/>
                  <a:pt x="243" y="2538"/>
                  <a:pt x="331" y="2575"/>
                </a:cubicBezTo>
                <a:cubicBezTo>
                  <a:pt x="1022" y="2871"/>
                  <a:pt x="1022" y="2871"/>
                  <a:pt x="1022" y="2871"/>
                </a:cubicBezTo>
                <a:cubicBezTo>
                  <a:pt x="1318" y="3562"/>
                  <a:pt x="1318" y="3562"/>
                  <a:pt x="1318" y="3562"/>
                </a:cubicBezTo>
                <a:cubicBezTo>
                  <a:pt x="1356" y="3650"/>
                  <a:pt x="1471" y="3672"/>
                  <a:pt x="1538" y="3604"/>
                </a:cubicBezTo>
                <a:cubicBezTo>
                  <a:pt x="1607" y="3536"/>
                  <a:pt x="1607" y="3536"/>
                  <a:pt x="1607" y="3536"/>
                </a:cubicBezTo>
                <a:cubicBezTo>
                  <a:pt x="1633" y="3510"/>
                  <a:pt x="1647" y="3476"/>
                  <a:pt x="1647" y="3440"/>
                </a:cubicBezTo>
                <a:cubicBezTo>
                  <a:pt x="1647" y="2621"/>
                  <a:pt x="1647" y="2621"/>
                  <a:pt x="1647" y="2621"/>
                </a:cubicBezTo>
                <a:cubicBezTo>
                  <a:pt x="2116" y="2152"/>
                  <a:pt x="2116" y="2152"/>
                  <a:pt x="2116" y="2152"/>
                </a:cubicBezTo>
                <a:cubicBezTo>
                  <a:pt x="2848" y="3785"/>
                  <a:pt x="2848" y="3785"/>
                  <a:pt x="2848" y="3785"/>
                </a:cubicBezTo>
                <a:cubicBezTo>
                  <a:pt x="2886" y="3872"/>
                  <a:pt x="3000" y="3893"/>
                  <a:pt x="3067" y="3826"/>
                </a:cubicBezTo>
                <a:cubicBezTo>
                  <a:pt x="3194" y="3699"/>
                  <a:pt x="3194" y="3699"/>
                  <a:pt x="3194" y="3699"/>
                </a:cubicBezTo>
                <a:cubicBezTo>
                  <a:pt x="3224" y="3669"/>
                  <a:pt x="3238" y="3628"/>
                  <a:pt x="3233" y="3587"/>
                </a:cubicBezTo>
                <a:cubicBezTo>
                  <a:pt x="2959" y="1308"/>
                  <a:pt x="2959" y="1308"/>
                  <a:pt x="2959" y="1308"/>
                </a:cubicBezTo>
                <a:cubicBezTo>
                  <a:pt x="3621" y="646"/>
                  <a:pt x="3621" y="646"/>
                  <a:pt x="3621" y="646"/>
                </a:cubicBezTo>
                <a:cubicBezTo>
                  <a:pt x="3642" y="626"/>
                  <a:pt x="3658" y="602"/>
                  <a:pt x="3670" y="576"/>
                </a:cubicBezTo>
                <a:cubicBezTo>
                  <a:pt x="3855" y="170"/>
                  <a:pt x="3855" y="170"/>
                  <a:pt x="3855" y="170"/>
                </a:cubicBezTo>
                <a:cubicBezTo>
                  <a:pt x="3894" y="86"/>
                  <a:pt x="3807" y="0"/>
                  <a:pt x="3723" y="38"/>
                </a:cubicBezTo>
                <a:close/>
              </a:path>
            </a:pathLst>
          </a:custGeom>
          <a:solidFill>
            <a:srgbClr val="F0CD5E">
              <a:alpha val="68000"/>
            </a:srgb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B2F295-4A6E-4EBC-9278-BDDD729121D4}"/>
              </a:ext>
            </a:extLst>
          </p:cNvPr>
          <p:cNvSpPr/>
          <p:nvPr/>
        </p:nvSpPr>
        <p:spPr>
          <a:xfrm>
            <a:off x="2092040" y="2741630"/>
            <a:ext cx="3669682" cy="1374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000"/>
              </a:lnSpc>
            </a:pPr>
            <a:r>
              <a:rPr lang="en-US" sz="2000" dirty="0">
                <a:solidFill>
                  <a:srgbClr val="E24D29"/>
                </a:solidFill>
                <a:latin typeface="Open Sans" panose="020B0606030504020204"/>
              </a:rPr>
              <a:t>incorporating </a:t>
            </a:r>
            <a:r>
              <a:rPr lang="en-US" sz="2000" dirty="0" err="1">
                <a:solidFill>
                  <a:srgbClr val="E24D29"/>
                </a:solidFill>
                <a:latin typeface="Open Sans" panose="020B0606030504020204"/>
              </a:rPr>
              <a:t>PosCom</a:t>
            </a:r>
            <a:r>
              <a:rPr lang="en-US" sz="2000" dirty="0">
                <a:solidFill>
                  <a:srgbClr val="E24D29"/>
                </a:solidFill>
                <a:latin typeface="Open Sans" panose="020B0606030504020204"/>
              </a:rPr>
              <a:t> on more platforms like Facebook, Twitter, etc. The future iteration of our extension will fix the CORB error.</a:t>
            </a:r>
            <a:endParaRPr lang="en-US" sz="2000" dirty="0">
              <a:solidFill>
                <a:srgbClr val="E24D29"/>
              </a:solidFill>
              <a:latin typeface="Open Sans" panose="020B060603050402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D698733-BAD8-4A78-8BF5-FE987E5FDC3F}"/>
              </a:ext>
            </a:extLst>
          </p:cNvPr>
          <p:cNvCxnSpPr>
            <a:cxnSpLocks/>
          </p:cNvCxnSpPr>
          <p:nvPr/>
        </p:nvCxnSpPr>
        <p:spPr>
          <a:xfrm>
            <a:off x="5840114" y="2487279"/>
            <a:ext cx="0" cy="1883441"/>
          </a:xfrm>
          <a:prstGeom prst="line">
            <a:avLst/>
          </a:prstGeom>
          <a:ln w="28575">
            <a:solidFill>
              <a:srgbClr val="E144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63DA5168-93DA-43A0-B2C8-EA5CD80F969A}"/>
              </a:ext>
            </a:extLst>
          </p:cNvPr>
          <p:cNvSpPr txBox="1"/>
          <p:nvPr/>
        </p:nvSpPr>
        <p:spPr>
          <a:xfrm>
            <a:off x="5996899" y="3139177"/>
            <a:ext cx="4103061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4000" b="1" spc="300" dirty="0">
                <a:solidFill>
                  <a:srgbClr val="E1441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’S NEXT</a:t>
            </a:r>
          </a:p>
        </p:txBody>
      </p:sp>
    </p:spTree>
    <p:extLst>
      <p:ext uri="{BB962C8B-B14F-4D97-AF65-F5344CB8AC3E}">
        <p14:creationId xmlns:p14="http://schemas.microsoft.com/office/powerpoint/2010/main" val="982834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2060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20"/>
                            </p:stCondLst>
                            <p:childTnLst>
                              <p:par>
                                <p:cTn id="1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2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xit" presetSubtype="4" fill="hold" grpId="2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26" grpId="0"/>
      <p:bldP spid="26" grpId="1"/>
      <p:bldP spid="28" grpId="0"/>
      <p:bldP spid="28" grpId="1"/>
      <p:bldP spid="28" grpId="2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E90C33E-B2D2-46E6-A6EA-A136A3643CCE}"/>
              </a:ext>
            </a:extLst>
          </p:cNvPr>
          <p:cNvSpPr txBox="1"/>
          <p:nvPr/>
        </p:nvSpPr>
        <p:spPr>
          <a:xfrm>
            <a:off x="4817232" y="2927209"/>
            <a:ext cx="12995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spc="-100" dirty="0">
                <a:solidFill>
                  <a:srgbClr val="E1441F"/>
                </a:solidFill>
                <a:latin typeface="Open Sans "/>
              </a:rPr>
              <a:t>TH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FCF236-E4E8-48DF-90A8-C48BCEF1FE96}"/>
              </a:ext>
            </a:extLst>
          </p:cNvPr>
          <p:cNvSpPr txBox="1"/>
          <p:nvPr/>
        </p:nvSpPr>
        <p:spPr>
          <a:xfrm>
            <a:off x="4290859" y="3267170"/>
            <a:ext cx="271417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500" b="1" spc="-500" dirty="0">
                <a:solidFill>
                  <a:srgbClr val="E1441F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END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98925FD-BDA3-4BAD-9F94-7A8E6ABE9A72}"/>
              </a:ext>
            </a:extLst>
          </p:cNvPr>
          <p:cNvSpPr>
            <a:spLocks noEditPoints="1"/>
          </p:cNvSpPr>
          <p:nvPr/>
        </p:nvSpPr>
        <p:spPr bwMode="auto">
          <a:xfrm>
            <a:off x="6640056" y="3245364"/>
            <a:ext cx="706437" cy="779463"/>
          </a:xfrm>
          <a:custGeom>
            <a:avLst/>
            <a:gdLst>
              <a:gd name="T0" fmla="*/ 6 w 195"/>
              <a:gd name="T1" fmla="*/ 1 h 214"/>
              <a:gd name="T2" fmla="*/ 11 w 195"/>
              <a:gd name="T3" fmla="*/ 0 h 214"/>
              <a:gd name="T4" fmla="*/ 17 w 195"/>
              <a:gd name="T5" fmla="*/ 1 h 214"/>
              <a:gd name="T6" fmla="*/ 131 w 195"/>
              <a:gd name="T7" fmla="*/ 97 h 214"/>
              <a:gd name="T8" fmla="*/ 136 w 195"/>
              <a:gd name="T9" fmla="*/ 107 h 214"/>
              <a:gd name="T10" fmla="*/ 131 w 195"/>
              <a:gd name="T11" fmla="*/ 116 h 214"/>
              <a:gd name="T12" fmla="*/ 17 w 195"/>
              <a:gd name="T13" fmla="*/ 212 h 214"/>
              <a:gd name="T14" fmla="*/ 6 w 195"/>
              <a:gd name="T15" fmla="*/ 212 h 214"/>
              <a:gd name="T16" fmla="*/ 0 w 195"/>
              <a:gd name="T17" fmla="*/ 202 h 214"/>
              <a:gd name="T18" fmla="*/ 0 w 195"/>
              <a:gd name="T19" fmla="*/ 11 h 214"/>
              <a:gd name="T20" fmla="*/ 6 w 195"/>
              <a:gd name="T21" fmla="*/ 1 h 214"/>
              <a:gd name="T22" fmla="*/ 150 w 195"/>
              <a:gd name="T23" fmla="*/ 5 h 214"/>
              <a:gd name="T24" fmla="*/ 150 w 195"/>
              <a:gd name="T25" fmla="*/ 208 h 214"/>
              <a:gd name="T26" fmla="*/ 154 w 195"/>
              <a:gd name="T27" fmla="*/ 213 h 214"/>
              <a:gd name="T28" fmla="*/ 191 w 195"/>
              <a:gd name="T29" fmla="*/ 213 h 214"/>
              <a:gd name="T30" fmla="*/ 195 w 195"/>
              <a:gd name="T31" fmla="*/ 208 h 214"/>
              <a:gd name="T32" fmla="*/ 195 w 195"/>
              <a:gd name="T33" fmla="*/ 5 h 214"/>
              <a:gd name="T34" fmla="*/ 191 w 195"/>
              <a:gd name="T35" fmla="*/ 0 h 214"/>
              <a:gd name="T36" fmla="*/ 154 w 195"/>
              <a:gd name="T37" fmla="*/ 0 h 214"/>
              <a:gd name="T38" fmla="*/ 150 w 195"/>
              <a:gd name="T39" fmla="*/ 5 h 214"/>
              <a:gd name="T40" fmla="*/ 150 w 195"/>
              <a:gd name="T41" fmla="*/ 5 h 214"/>
              <a:gd name="T42" fmla="*/ 150 w 195"/>
              <a:gd name="T43" fmla="*/ 5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95" h="214">
                <a:moveTo>
                  <a:pt x="6" y="1"/>
                </a:moveTo>
                <a:cubicBezTo>
                  <a:pt x="7" y="0"/>
                  <a:pt x="9" y="0"/>
                  <a:pt x="11" y="0"/>
                </a:cubicBezTo>
                <a:cubicBezTo>
                  <a:pt x="13" y="0"/>
                  <a:pt x="15" y="0"/>
                  <a:pt x="17" y="1"/>
                </a:cubicBezTo>
                <a:cubicBezTo>
                  <a:pt x="131" y="97"/>
                  <a:pt x="131" y="97"/>
                  <a:pt x="131" y="97"/>
                </a:cubicBezTo>
                <a:cubicBezTo>
                  <a:pt x="134" y="99"/>
                  <a:pt x="136" y="103"/>
                  <a:pt x="136" y="107"/>
                </a:cubicBezTo>
                <a:cubicBezTo>
                  <a:pt x="136" y="110"/>
                  <a:pt x="134" y="114"/>
                  <a:pt x="131" y="116"/>
                </a:cubicBezTo>
                <a:cubicBezTo>
                  <a:pt x="17" y="212"/>
                  <a:pt x="17" y="212"/>
                  <a:pt x="17" y="212"/>
                </a:cubicBezTo>
                <a:cubicBezTo>
                  <a:pt x="13" y="214"/>
                  <a:pt x="9" y="214"/>
                  <a:pt x="6" y="212"/>
                </a:cubicBezTo>
                <a:cubicBezTo>
                  <a:pt x="2" y="210"/>
                  <a:pt x="0" y="206"/>
                  <a:pt x="0" y="202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7"/>
                  <a:pt x="2" y="3"/>
                  <a:pt x="6" y="1"/>
                </a:cubicBezTo>
                <a:close/>
                <a:moveTo>
                  <a:pt x="150" y="5"/>
                </a:moveTo>
                <a:cubicBezTo>
                  <a:pt x="150" y="208"/>
                  <a:pt x="150" y="208"/>
                  <a:pt x="150" y="208"/>
                </a:cubicBezTo>
                <a:cubicBezTo>
                  <a:pt x="150" y="211"/>
                  <a:pt x="152" y="213"/>
                  <a:pt x="154" y="213"/>
                </a:cubicBezTo>
                <a:cubicBezTo>
                  <a:pt x="191" y="213"/>
                  <a:pt x="191" y="213"/>
                  <a:pt x="191" y="213"/>
                </a:cubicBezTo>
                <a:cubicBezTo>
                  <a:pt x="193" y="213"/>
                  <a:pt x="195" y="211"/>
                  <a:pt x="195" y="208"/>
                </a:cubicBezTo>
                <a:cubicBezTo>
                  <a:pt x="195" y="5"/>
                  <a:pt x="195" y="5"/>
                  <a:pt x="195" y="5"/>
                </a:cubicBezTo>
                <a:cubicBezTo>
                  <a:pt x="195" y="2"/>
                  <a:pt x="193" y="0"/>
                  <a:pt x="191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2" y="0"/>
                  <a:pt x="150" y="2"/>
                  <a:pt x="150" y="5"/>
                </a:cubicBezTo>
                <a:close/>
                <a:moveTo>
                  <a:pt x="150" y="5"/>
                </a:moveTo>
                <a:cubicBezTo>
                  <a:pt x="150" y="5"/>
                  <a:pt x="150" y="5"/>
                  <a:pt x="150" y="5"/>
                </a:cubicBezTo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39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6" presetClass="emph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75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375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250"/>
                            </p:stCondLst>
                            <p:childTnLst>
                              <p:par>
                                <p:cTn id="2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6" grpId="0"/>
      <p:bldP spid="6" grpId="1"/>
      <p:bldP spid="8" grpId="0" animBg="1"/>
      <p:bldP spid="8" grpId="1" animBg="1"/>
      <p:bldP spid="8" grpId="2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</TotalTime>
  <Words>232</Words>
  <Application>Microsoft Office PowerPoint</Application>
  <PresentationFormat>Widescreen</PresentationFormat>
  <Paragraphs>50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Open Sans</vt:lpstr>
      <vt:lpstr>Open Sans </vt:lpstr>
      <vt:lpstr>Open Sans Extrabold</vt:lpstr>
      <vt:lpstr>Open Sans Light</vt:lpstr>
      <vt:lpstr>Robo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hanh Linh Vu</dc:creator>
  <cp:lastModifiedBy>Michelle Domagala-Tang</cp:lastModifiedBy>
  <cp:revision>44</cp:revision>
  <dcterms:created xsi:type="dcterms:W3CDTF">2020-01-11T23:52:42Z</dcterms:created>
  <dcterms:modified xsi:type="dcterms:W3CDTF">2020-01-12T15:05:25Z</dcterms:modified>
</cp:coreProperties>
</file>